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DDC69A"/>
    <a:srgbClr val="035FA0"/>
    <a:srgbClr val="D23A43"/>
    <a:srgbClr val="10253F"/>
    <a:srgbClr val="DEC699"/>
    <a:srgbClr val="1F497D"/>
    <a:srgbClr val="131873"/>
    <a:srgbClr val="9900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B8D2E8-B4DD-4999-B03E-D10D7AEC7780}" v="14" dt="2022-03-11T20:09:28.381"/>
    <p1510:client id="{82DDCF58-EE45-41B6-B329-C404F49939FA}" v="116" dt="2022-03-11T22:33:39.493"/>
    <p1510:client id="{9C0BE6AE-034C-497E-A35A-530DEFC914A1}" v="37" dt="2022-03-12T03:23:54.095"/>
    <p1510:client id="{A3C862AA-10E6-439F-8B27-25D589D6BF11}" v="54" dt="2022-03-29T20:39:08.073"/>
    <p1510:client id="{E7937C6B-949C-4DA6-9EBA-C46F24D4B6C1}" v="98" dt="2022-03-29T20:36:22.0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638" autoAdjust="0"/>
  </p:normalViewPr>
  <p:slideViewPr>
    <p:cSldViewPr snapToGrid="0">
      <p:cViewPr>
        <p:scale>
          <a:sx n="25" d="100"/>
          <a:sy n="25" d="100"/>
        </p:scale>
        <p:origin x="-572" y="-772"/>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u-Lin Tai" userId="qxBCN0BVxyTI6XZ8yOgnvlc88beCnpFuFd6D99Fo7n0=" providerId="None" clId="Web-{778726E0-D572-4E52-B59A-282D68EF6635}"/>
    <pc:docChg chg="modSld">
      <pc:chgData name="Yu-Lin Tai" userId="qxBCN0BVxyTI6XZ8yOgnvlc88beCnpFuFd6D99Fo7n0=" providerId="None" clId="Web-{778726E0-D572-4E52-B59A-282D68EF6635}" dt="2022-03-02T22:45:49.204" v="8" actId="14100"/>
      <pc:docMkLst>
        <pc:docMk/>
      </pc:docMkLst>
      <pc:sldChg chg="addSp delSp modSp">
        <pc:chgData name="Yu-Lin Tai" userId="qxBCN0BVxyTI6XZ8yOgnvlc88beCnpFuFd6D99Fo7n0=" providerId="None" clId="Web-{778726E0-D572-4E52-B59A-282D68EF6635}" dt="2022-03-02T22:45:49.204" v="8" actId="14100"/>
        <pc:sldMkLst>
          <pc:docMk/>
          <pc:sldMk cId="1501710035" sldId="257"/>
        </pc:sldMkLst>
        <pc:picChg chg="add del mod">
          <ac:chgData name="Yu-Lin Tai" userId="qxBCN0BVxyTI6XZ8yOgnvlc88beCnpFuFd6D99Fo7n0=" providerId="None" clId="Web-{778726E0-D572-4E52-B59A-282D68EF6635}" dt="2022-03-02T22:43:31.860" v="2"/>
          <ac:picMkLst>
            <pc:docMk/>
            <pc:sldMk cId="1501710035" sldId="257"/>
            <ac:picMk id="4" creationId="{76A20879-6B1B-4504-9330-B285028CFE41}"/>
          </ac:picMkLst>
        </pc:picChg>
        <pc:picChg chg="add mod">
          <ac:chgData name="Yu-Lin Tai" userId="qxBCN0BVxyTI6XZ8yOgnvlc88beCnpFuFd6D99Fo7n0=" providerId="None" clId="Web-{778726E0-D572-4E52-B59A-282D68EF6635}" dt="2022-03-02T22:45:49.204" v="8" actId="14100"/>
          <ac:picMkLst>
            <pc:docMk/>
            <pc:sldMk cId="1501710035" sldId="257"/>
            <ac:picMk id="4" creationId="{BAD4DCDB-38FF-4A3C-8D35-0C36B00B9ABF}"/>
          </ac:picMkLst>
        </pc:picChg>
      </pc:sldChg>
    </pc:docChg>
  </pc:docChgLst>
  <pc:docChgLst>
    <pc:chgData name="Swati Srivastava" userId="sg+8E020WmvUHQdkEEMKzAl3HKzJOxs6XnuvEALaej8=" providerId="None" clId="Web-{420E881E-D658-46DB-A42E-D4940A9F6FBF}"/>
    <pc:docChg chg="modSld">
      <pc:chgData name="Swati Srivastava" userId="sg+8E020WmvUHQdkEEMKzAl3HKzJOxs6XnuvEALaej8=" providerId="None" clId="Web-{420E881E-D658-46DB-A42E-D4940A9F6FBF}" dt="2022-03-03T00:59:09.958" v="837" actId="20577"/>
      <pc:docMkLst>
        <pc:docMk/>
      </pc:docMkLst>
      <pc:sldChg chg="addSp delSp modSp">
        <pc:chgData name="Swati Srivastava" userId="sg+8E020WmvUHQdkEEMKzAl3HKzJOxs6XnuvEALaej8=" providerId="None" clId="Web-{420E881E-D658-46DB-A42E-D4940A9F6FBF}" dt="2022-03-03T00:59:09.958" v="837" actId="20577"/>
        <pc:sldMkLst>
          <pc:docMk/>
          <pc:sldMk cId="1501710035" sldId="257"/>
        </pc:sldMkLst>
        <pc:spChg chg="del">
          <ac:chgData name="Swati Srivastava" userId="sg+8E020WmvUHQdkEEMKzAl3HKzJOxs6XnuvEALaej8=" providerId="None" clId="Web-{420E881E-D658-46DB-A42E-D4940A9F6FBF}" dt="2022-03-02T23:36:41.414" v="312"/>
          <ac:spMkLst>
            <pc:docMk/>
            <pc:sldMk cId="1501710035" sldId="257"/>
            <ac:spMk id="2" creationId="{F0E42401-6B49-48DD-929E-15EF27F53DAE}"/>
          </ac:spMkLst>
        </pc:spChg>
        <pc:spChg chg="mod">
          <ac:chgData name="Swati Srivastava" userId="sg+8E020WmvUHQdkEEMKzAl3HKzJOxs6XnuvEALaej8=" providerId="None" clId="Web-{420E881E-D658-46DB-A42E-D4940A9F6FBF}" dt="2022-03-02T22:36:14.485" v="175" actId="1076"/>
          <ac:spMkLst>
            <pc:docMk/>
            <pc:sldMk cId="1501710035" sldId="257"/>
            <ac:spMk id="6" creationId="{8FA1FAB8-5768-438D-B2F4-F60B2A37F47A}"/>
          </ac:spMkLst>
        </pc:spChg>
        <pc:spChg chg="add mod">
          <ac:chgData name="Swati Srivastava" userId="sg+8E020WmvUHQdkEEMKzAl3HKzJOxs6XnuvEALaej8=" providerId="None" clId="Web-{420E881E-D658-46DB-A42E-D4940A9F6FBF}" dt="2022-03-03T00:29:10.530" v="495" actId="20577"/>
          <ac:spMkLst>
            <pc:docMk/>
            <pc:sldMk cId="1501710035" sldId="257"/>
            <ac:spMk id="7" creationId="{9E8822D4-6689-4B34-BD0A-6168092D67C2}"/>
          </ac:spMkLst>
        </pc:spChg>
        <pc:spChg chg="mod">
          <ac:chgData name="Swati Srivastava" userId="sg+8E020WmvUHQdkEEMKzAl3HKzJOxs6XnuvEALaej8=" providerId="None" clId="Web-{420E881E-D658-46DB-A42E-D4940A9F6FBF}" dt="2022-03-02T22:58:36.934" v="268" actId="1076"/>
          <ac:spMkLst>
            <pc:docMk/>
            <pc:sldMk cId="1501710035" sldId="257"/>
            <ac:spMk id="10" creationId="{63492AC6-4137-416C-80D7-23A7961A3E88}"/>
          </ac:spMkLst>
        </pc:spChg>
        <pc:spChg chg="mod">
          <ac:chgData name="Swati Srivastava" userId="sg+8E020WmvUHQdkEEMKzAl3HKzJOxs6XnuvEALaej8=" providerId="None" clId="Web-{420E881E-D658-46DB-A42E-D4940A9F6FBF}" dt="2022-03-02T22:45:02.983" v="206" actId="1076"/>
          <ac:spMkLst>
            <pc:docMk/>
            <pc:sldMk cId="1501710035" sldId="257"/>
            <ac:spMk id="12" creationId="{E7C49F5A-4518-4C56-8A32-89B3D0E1D515}"/>
          </ac:spMkLst>
        </pc:spChg>
        <pc:spChg chg="mod">
          <ac:chgData name="Swati Srivastava" userId="sg+8E020WmvUHQdkEEMKzAl3HKzJOxs6XnuvEALaej8=" providerId="None" clId="Web-{420E881E-D658-46DB-A42E-D4940A9F6FBF}" dt="2022-03-03T00:43:25.197" v="645" actId="20577"/>
          <ac:spMkLst>
            <pc:docMk/>
            <pc:sldMk cId="1501710035" sldId="257"/>
            <ac:spMk id="15" creationId="{343CE61A-904B-488A-A575-BB0E151AF271}"/>
          </ac:spMkLst>
        </pc:spChg>
        <pc:spChg chg="mod">
          <ac:chgData name="Swati Srivastava" userId="sg+8E020WmvUHQdkEEMKzAl3HKzJOxs6XnuvEALaej8=" providerId="None" clId="Web-{420E881E-D658-46DB-A42E-D4940A9F6FBF}" dt="2022-03-03T00:24:49.375" v="424" actId="1076"/>
          <ac:spMkLst>
            <pc:docMk/>
            <pc:sldMk cId="1501710035" sldId="257"/>
            <ac:spMk id="19" creationId="{5438C375-39A2-42F9-AB7D-3508FED1BF7E}"/>
          </ac:spMkLst>
        </pc:spChg>
        <pc:spChg chg="del">
          <ac:chgData name="Swati Srivastava" userId="sg+8E020WmvUHQdkEEMKzAl3HKzJOxs6XnuvEALaej8=" providerId="None" clId="Web-{420E881E-D658-46DB-A42E-D4940A9F6FBF}" dt="2022-03-03T00:57:58.271" v="823"/>
          <ac:spMkLst>
            <pc:docMk/>
            <pc:sldMk cId="1501710035" sldId="257"/>
            <ac:spMk id="23" creationId="{80A15F7C-4D9C-419C-81D2-302F854F2236}"/>
          </ac:spMkLst>
        </pc:spChg>
        <pc:spChg chg="del mod">
          <ac:chgData name="Swati Srivastava" userId="sg+8E020WmvUHQdkEEMKzAl3HKzJOxs6XnuvEALaej8=" providerId="None" clId="Web-{420E881E-D658-46DB-A42E-D4940A9F6FBF}" dt="2022-03-03T00:12:10.003" v="332"/>
          <ac:spMkLst>
            <pc:docMk/>
            <pc:sldMk cId="1501710035" sldId="257"/>
            <ac:spMk id="25" creationId="{47F894AC-1C2D-4E0B-82FA-11DD99358942}"/>
          </ac:spMkLst>
        </pc:spChg>
        <pc:spChg chg="mod">
          <ac:chgData name="Swati Srivastava" userId="sg+8E020WmvUHQdkEEMKzAl3HKzJOxs6XnuvEALaej8=" providerId="None" clId="Web-{420E881E-D658-46DB-A42E-D4940A9F6FBF}" dt="2022-03-02T22:44:56.093" v="205" actId="1076"/>
          <ac:spMkLst>
            <pc:docMk/>
            <pc:sldMk cId="1501710035" sldId="257"/>
            <ac:spMk id="34" creationId="{1E691D5B-DEA8-4C56-96F7-361BD5DF17DE}"/>
          </ac:spMkLst>
        </pc:spChg>
        <pc:spChg chg="mod">
          <ac:chgData name="Swati Srivastava" userId="sg+8E020WmvUHQdkEEMKzAl3HKzJOxs6XnuvEALaej8=" providerId="None" clId="Web-{420E881E-D658-46DB-A42E-D4940A9F6FBF}" dt="2022-03-02T22:44:52.343" v="201" actId="1076"/>
          <ac:spMkLst>
            <pc:docMk/>
            <pc:sldMk cId="1501710035" sldId="257"/>
            <ac:spMk id="36" creationId="{E9989D70-EF79-47D4-BB0B-547709F3D730}"/>
          </ac:spMkLst>
        </pc:spChg>
        <pc:spChg chg="mod">
          <ac:chgData name="Swati Srivastava" userId="sg+8E020WmvUHQdkEEMKzAl3HKzJOxs6XnuvEALaej8=" providerId="None" clId="Web-{420E881E-D658-46DB-A42E-D4940A9F6FBF}" dt="2022-03-02T22:45:13.374" v="207" actId="1076"/>
          <ac:spMkLst>
            <pc:docMk/>
            <pc:sldMk cId="1501710035" sldId="257"/>
            <ac:spMk id="39" creationId="{5B411F13-1648-40BE-94CD-0A5AA4C4324D}"/>
          </ac:spMkLst>
        </pc:spChg>
        <pc:spChg chg="mod">
          <ac:chgData name="Swati Srivastava" userId="sg+8E020WmvUHQdkEEMKzAl3HKzJOxs6XnuvEALaej8=" providerId="None" clId="Web-{420E881E-D658-46DB-A42E-D4940A9F6FBF}" dt="2022-03-02T22:45:14.030" v="208" actId="1076"/>
          <ac:spMkLst>
            <pc:docMk/>
            <pc:sldMk cId="1501710035" sldId="257"/>
            <ac:spMk id="42" creationId="{96F07418-00C8-4943-8B6F-6F530066EE2B}"/>
          </ac:spMkLst>
        </pc:spChg>
        <pc:spChg chg="mod">
          <ac:chgData name="Swati Srivastava" userId="sg+8E020WmvUHQdkEEMKzAl3HKzJOxs6XnuvEALaej8=" providerId="None" clId="Web-{420E881E-D658-46DB-A42E-D4940A9F6FBF}" dt="2022-03-03T00:12:28.003" v="338" actId="20577"/>
          <ac:spMkLst>
            <pc:docMk/>
            <pc:sldMk cId="1501710035" sldId="257"/>
            <ac:spMk id="60" creationId="{8151A4DD-81A4-4FA9-AC9C-C91365C073D5}"/>
          </ac:spMkLst>
        </pc:spChg>
        <pc:spChg chg="mod">
          <ac:chgData name="Swati Srivastava" userId="sg+8E020WmvUHQdkEEMKzAl3HKzJOxs6XnuvEALaej8=" providerId="None" clId="Web-{420E881E-D658-46DB-A42E-D4940A9F6FBF}" dt="2022-03-02T22:58:20.777" v="260" actId="1076"/>
          <ac:spMkLst>
            <pc:docMk/>
            <pc:sldMk cId="1501710035" sldId="257"/>
            <ac:spMk id="61" creationId="{1E59A166-603F-4DA5-989D-07DE2998A334}"/>
          </ac:spMkLst>
        </pc:spChg>
        <pc:spChg chg="mod">
          <ac:chgData name="Swati Srivastava" userId="sg+8E020WmvUHQdkEEMKzAl3HKzJOxs6XnuvEALaej8=" providerId="None" clId="Web-{420E881E-D658-46DB-A42E-D4940A9F6FBF}" dt="2022-03-03T00:31:17.263" v="539" actId="20577"/>
          <ac:spMkLst>
            <pc:docMk/>
            <pc:sldMk cId="1501710035" sldId="257"/>
            <ac:spMk id="63" creationId="{97CA9C7E-75CF-4B4F-B23D-B9E6F06A8820}"/>
          </ac:spMkLst>
        </pc:spChg>
        <pc:spChg chg="mod">
          <ac:chgData name="Swati Srivastava" userId="sg+8E020WmvUHQdkEEMKzAl3HKzJOxs6XnuvEALaej8=" providerId="None" clId="Web-{420E881E-D658-46DB-A42E-D4940A9F6FBF}" dt="2022-03-02T22:58:22.074" v="262" actId="1076"/>
          <ac:spMkLst>
            <pc:docMk/>
            <pc:sldMk cId="1501710035" sldId="257"/>
            <ac:spMk id="64" creationId="{B4C592E6-539E-40D8-AD36-19E6A3EF344A}"/>
          </ac:spMkLst>
        </pc:spChg>
        <pc:spChg chg="mod">
          <ac:chgData name="Swati Srivastava" userId="sg+8E020WmvUHQdkEEMKzAl3HKzJOxs6XnuvEALaej8=" providerId="None" clId="Web-{420E881E-D658-46DB-A42E-D4940A9F6FBF}" dt="2022-03-02T22:17:11.879" v="143"/>
          <ac:spMkLst>
            <pc:docMk/>
            <pc:sldMk cId="1501710035" sldId="257"/>
            <ac:spMk id="90" creationId="{C34FB5E3-C76A-4466-A368-557276DF27F2}"/>
          </ac:spMkLst>
        </pc:spChg>
        <pc:spChg chg="add del mod">
          <ac:chgData name="Swati Srivastava" userId="sg+8E020WmvUHQdkEEMKzAl3HKzJOxs6XnuvEALaej8=" providerId="None" clId="Web-{420E881E-D658-46DB-A42E-D4940A9F6FBF}" dt="2022-03-03T00:14:44.925" v="354"/>
          <ac:spMkLst>
            <pc:docMk/>
            <pc:sldMk cId="1501710035" sldId="257"/>
            <ac:spMk id="96" creationId="{AE14F8D1-37CA-4CB2-8D8D-FD5953664693}"/>
          </ac:spMkLst>
        </pc:spChg>
        <pc:spChg chg="add mod">
          <ac:chgData name="Swati Srivastava" userId="sg+8E020WmvUHQdkEEMKzAl3HKzJOxs6XnuvEALaej8=" providerId="None" clId="Web-{420E881E-D658-46DB-A42E-D4940A9F6FBF}" dt="2022-03-03T00:26:21.827" v="453" actId="20577"/>
          <ac:spMkLst>
            <pc:docMk/>
            <pc:sldMk cId="1501710035" sldId="257"/>
            <ac:spMk id="101" creationId="{5C1E25A0-E2DC-4E8C-B8FD-0D8930A3BCBD}"/>
          </ac:spMkLst>
        </pc:spChg>
        <pc:spChg chg="add mod">
          <ac:chgData name="Swati Srivastava" userId="sg+8E020WmvUHQdkEEMKzAl3HKzJOxs6XnuvEALaej8=" providerId="None" clId="Web-{420E881E-D658-46DB-A42E-D4940A9F6FBF}" dt="2022-03-03T00:56:19.631" v="803" actId="1076"/>
          <ac:spMkLst>
            <pc:docMk/>
            <pc:sldMk cId="1501710035" sldId="257"/>
            <ac:spMk id="103" creationId="{2F76351F-9D02-45DE-B6F2-FE328717BBD9}"/>
          </ac:spMkLst>
        </pc:spChg>
        <pc:spChg chg="add mod">
          <ac:chgData name="Swati Srivastava" userId="sg+8E020WmvUHQdkEEMKzAl3HKzJOxs6XnuvEALaej8=" providerId="None" clId="Web-{420E881E-D658-46DB-A42E-D4940A9F6FBF}" dt="2022-03-02T22:44:53.749" v="203" actId="1076"/>
          <ac:spMkLst>
            <pc:docMk/>
            <pc:sldMk cId="1501710035" sldId="257"/>
            <ac:spMk id="104" creationId="{2BCA9E67-8E04-44DC-A24B-E8557BE6C17E}"/>
          </ac:spMkLst>
        </pc:spChg>
        <pc:spChg chg="add mod">
          <ac:chgData name="Swati Srivastava" userId="sg+8E020WmvUHQdkEEMKzAl3HKzJOxs6XnuvEALaej8=" providerId="None" clId="Web-{420E881E-D658-46DB-A42E-D4940A9F6FBF}" dt="2022-03-03T00:57:12.584" v="812" actId="14100"/>
          <ac:spMkLst>
            <pc:docMk/>
            <pc:sldMk cId="1501710035" sldId="257"/>
            <ac:spMk id="105" creationId="{09694568-FBFD-4B0E-96E5-CBF182AEC315}"/>
          </ac:spMkLst>
        </pc:spChg>
        <pc:spChg chg="del">
          <ac:chgData name="Swati Srivastava" userId="sg+8E020WmvUHQdkEEMKzAl3HKzJOxs6XnuvEALaej8=" providerId="None" clId="Web-{420E881E-D658-46DB-A42E-D4940A9F6FBF}" dt="2022-03-03T00:12:16.222" v="334"/>
          <ac:spMkLst>
            <pc:docMk/>
            <pc:sldMk cId="1501710035" sldId="257"/>
            <ac:spMk id="175" creationId="{17449A33-DD0D-427D-B73C-C2587574C21E}"/>
          </ac:spMkLst>
        </pc:spChg>
        <pc:spChg chg="del">
          <ac:chgData name="Swati Srivastava" userId="sg+8E020WmvUHQdkEEMKzAl3HKzJOxs6XnuvEALaej8=" providerId="None" clId="Web-{420E881E-D658-46DB-A42E-D4940A9F6FBF}" dt="2022-03-03T00:57:48.115" v="819"/>
          <ac:spMkLst>
            <pc:docMk/>
            <pc:sldMk cId="1501710035" sldId="257"/>
            <ac:spMk id="185" creationId="{1178F55C-A56C-49E3-8F95-618A2E3FA5DC}"/>
          </ac:spMkLst>
        </pc:spChg>
        <pc:spChg chg="mod">
          <ac:chgData name="Swati Srivastava" userId="sg+8E020WmvUHQdkEEMKzAl3HKzJOxs6XnuvEALaej8=" providerId="None" clId="Web-{420E881E-D658-46DB-A42E-D4940A9F6FBF}" dt="2022-03-03T00:12:49.113" v="350" actId="14100"/>
          <ac:spMkLst>
            <pc:docMk/>
            <pc:sldMk cId="1501710035" sldId="257"/>
            <ac:spMk id="201" creationId="{F2DD2CFB-B1F6-401D-B0ED-2A31E4481691}"/>
          </ac:spMkLst>
        </pc:spChg>
        <pc:spChg chg="mod">
          <ac:chgData name="Swati Srivastava" userId="sg+8E020WmvUHQdkEEMKzAl3HKzJOxs6XnuvEALaej8=" providerId="None" clId="Web-{420E881E-D658-46DB-A42E-D4940A9F6FBF}" dt="2022-03-02T23:09:04.057" v="302" actId="1076"/>
          <ac:spMkLst>
            <pc:docMk/>
            <pc:sldMk cId="1501710035" sldId="257"/>
            <ac:spMk id="204" creationId="{981B139B-84BD-429E-A87A-4774B38773D2}"/>
          </ac:spMkLst>
        </pc:spChg>
        <pc:spChg chg="mod">
          <ac:chgData name="Swati Srivastava" userId="sg+8E020WmvUHQdkEEMKzAl3HKzJOxs6XnuvEALaej8=" providerId="None" clId="Web-{420E881E-D658-46DB-A42E-D4940A9F6FBF}" dt="2022-03-03T00:57:34.365" v="815" actId="1076"/>
          <ac:spMkLst>
            <pc:docMk/>
            <pc:sldMk cId="1501710035" sldId="257"/>
            <ac:spMk id="209" creationId="{231A1C19-1905-4CA9-9C87-3C1F35D48A04}"/>
          </ac:spMkLst>
        </pc:spChg>
        <pc:spChg chg="del">
          <ac:chgData name="Swati Srivastava" userId="sg+8E020WmvUHQdkEEMKzAl3HKzJOxs6XnuvEALaej8=" providerId="None" clId="Web-{420E881E-D658-46DB-A42E-D4940A9F6FBF}" dt="2022-03-02T23:36:37.008" v="310"/>
          <ac:spMkLst>
            <pc:docMk/>
            <pc:sldMk cId="1501710035" sldId="257"/>
            <ac:spMk id="221" creationId="{1D2DBF09-CA86-4D15-88FE-F1091A2884ED}"/>
          </ac:spMkLst>
        </pc:spChg>
        <pc:spChg chg="del">
          <ac:chgData name="Swati Srivastava" userId="sg+8E020WmvUHQdkEEMKzAl3HKzJOxs6XnuvEALaej8=" providerId="None" clId="Web-{420E881E-D658-46DB-A42E-D4940A9F6FBF}" dt="2022-03-03T00:57:43.318" v="818"/>
          <ac:spMkLst>
            <pc:docMk/>
            <pc:sldMk cId="1501710035" sldId="257"/>
            <ac:spMk id="228" creationId="{A0A179C4-D3FE-4A47-B668-7DF96046221C}"/>
          </ac:spMkLst>
        </pc:spChg>
        <pc:spChg chg="del">
          <ac:chgData name="Swati Srivastava" userId="sg+8E020WmvUHQdkEEMKzAl3HKzJOxs6XnuvEALaej8=" providerId="None" clId="Web-{420E881E-D658-46DB-A42E-D4940A9F6FBF}" dt="2022-03-03T00:12:12.722" v="333"/>
          <ac:spMkLst>
            <pc:docMk/>
            <pc:sldMk cId="1501710035" sldId="257"/>
            <ac:spMk id="231" creationId="{84D5F5F2-FF71-4944-9B47-D5037BFBCAA7}"/>
          </ac:spMkLst>
        </pc:spChg>
        <pc:spChg chg="del">
          <ac:chgData name="Swati Srivastava" userId="sg+8E020WmvUHQdkEEMKzAl3HKzJOxs6XnuvEALaej8=" providerId="None" clId="Web-{420E881E-D658-46DB-A42E-D4940A9F6FBF}" dt="2022-03-03T00:57:55.412" v="822"/>
          <ac:spMkLst>
            <pc:docMk/>
            <pc:sldMk cId="1501710035" sldId="257"/>
            <ac:spMk id="243" creationId="{1CEB2C05-428F-4E58-9FB2-8BF916C751BC}"/>
          </ac:spMkLst>
        </pc:spChg>
        <pc:spChg chg="mod">
          <ac:chgData name="Swati Srivastava" userId="sg+8E020WmvUHQdkEEMKzAl3HKzJOxs6XnuvEALaej8=" providerId="None" clId="Web-{420E881E-D658-46DB-A42E-D4940A9F6FBF}" dt="2022-03-02T23:08:34.386" v="294" actId="20577"/>
          <ac:spMkLst>
            <pc:docMk/>
            <pc:sldMk cId="1501710035" sldId="257"/>
            <ac:spMk id="755" creationId="{5A28348E-FA48-4141-AACB-2916E7D76477}"/>
          </ac:spMkLst>
        </pc:spChg>
        <pc:spChg chg="mod">
          <ac:chgData name="Swati Srivastava" userId="sg+8E020WmvUHQdkEEMKzAl3HKzJOxs6XnuvEALaej8=" providerId="None" clId="Web-{420E881E-D658-46DB-A42E-D4940A9F6FBF}" dt="2022-03-03T00:59:09.958" v="837" actId="20577"/>
          <ac:spMkLst>
            <pc:docMk/>
            <pc:sldMk cId="1501710035" sldId="257"/>
            <ac:spMk id="2151" creationId="{00000000-0000-0000-0000-000000000000}"/>
          </ac:spMkLst>
        </pc:spChg>
        <pc:spChg chg="mod">
          <ac:chgData name="Swati Srivastava" userId="sg+8E020WmvUHQdkEEMKzAl3HKzJOxs6XnuvEALaej8=" providerId="None" clId="Web-{420E881E-D658-46DB-A42E-D4940A9F6FBF}" dt="2022-03-02T23:36:29.836" v="306" actId="20577"/>
          <ac:spMkLst>
            <pc:docMk/>
            <pc:sldMk cId="1501710035" sldId="257"/>
            <ac:spMk id="2154" creationId="{00000000-0000-0000-0000-000000000000}"/>
          </ac:spMkLst>
        </pc:spChg>
        <pc:grpChg chg="del mod">
          <ac:chgData name="Swati Srivastava" userId="sg+8E020WmvUHQdkEEMKzAl3HKzJOxs6XnuvEALaej8=" providerId="None" clId="Web-{420E881E-D658-46DB-A42E-D4940A9F6FBF}" dt="2022-03-03T00:12:06.582" v="331"/>
          <ac:grpSpMkLst>
            <pc:docMk/>
            <pc:sldMk cId="1501710035" sldId="257"/>
            <ac:grpSpMk id="29" creationId="{FC417A7E-30A6-4DFB-9E9F-FAA9BEBCF39C}"/>
          </ac:grpSpMkLst>
        </pc:grpChg>
        <pc:grpChg chg="mod">
          <ac:chgData name="Swati Srivastava" userId="sg+8E020WmvUHQdkEEMKzAl3HKzJOxs6XnuvEALaej8=" providerId="None" clId="Web-{420E881E-D658-46DB-A42E-D4940A9F6FBF}" dt="2022-03-02T22:58:23.371" v="264" actId="1076"/>
          <ac:grpSpMkLst>
            <pc:docMk/>
            <pc:sldMk cId="1501710035" sldId="257"/>
            <ac:grpSpMk id="32" creationId="{F2D71D57-9643-470F-AA5E-895459E788AE}"/>
          </ac:grpSpMkLst>
        </pc:grpChg>
        <pc:grpChg chg="del">
          <ac:chgData name="Swati Srivastava" userId="sg+8E020WmvUHQdkEEMKzAl3HKzJOxs6XnuvEALaej8=" providerId="None" clId="Web-{420E881E-D658-46DB-A42E-D4940A9F6FBF}" dt="2022-03-02T22:34:06.126" v="157"/>
          <ac:grpSpMkLst>
            <pc:docMk/>
            <pc:sldMk cId="1501710035" sldId="257"/>
            <ac:grpSpMk id="187" creationId="{532DB17E-1C96-4EFC-996B-CAAD07EFBCDB}"/>
          </ac:grpSpMkLst>
        </pc:grpChg>
        <pc:graphicFrameChg chg="del">
          <ac:chgData name="Swati Srivastava" userId="sg+8E020WmvUHQdkEEMKzAl3HKzJOxs6XnuvEALaej8=" providerId="None" clId="Web-{420E881E-D658-46DB-A42E-D4940A9F6FBF}" dt="2022-03-02T23:36:35.789" v="309"/>
          <ac:graphicFrameMkLst>
            <pc:docMk/>
            <pc:sldMk cId="1501710035" sldId="257"/>
            <ac:graphicFrameMk id="16" creationId="{9DA76588-EFC1-4E49-8913-FA42CBA6C134}"/>
          </ac:graphicFrameMkLst>
        </pc:graphicFrameChg>
        <pc:graphicFrameChg chg="del">
          <ac:chgData name="Swati Srivastava" userId="sg+8E020WmvUHQdkEEMKzAl3HKzJOxs6XnuvEALaej8=" providerId="None" clId="Web-{420E881E-D658-46DB-A42E-D4940A9F6FBF}" dt="2022-03-02T22:34:03.001" v="156"/>
          <ac:graphicFrameMkLst>
            <pc:docMk/>
            <pc:sldMk cId="1501710035" sldId="257"/>
            <ac:graphicFrameMk id="230" creationId="{F5A8E129-7B6D-4DFC-B290-12C568A30739}"/>
          </ac:graphicFrameMkLst>
        </pc:graphicFrameChg>
        <pc:picChg chg="add mod">
          <ac:chgData name="Swati Srivastava" userId="sg+8E020WmvUHQdkEEMKzAl3HKzJOxs6XnuvEALaej8=" providerId="None" clId="Web-{420E881E-D658-46DB-A42E-D4940A9F6FBF}" dt="2022-03-03T00:56:09.100" v="801" actId="1076"/>
          <ac:picMkLst>
            <pc:docMk/>
            <pc:sldMk cId="1501710035" sldId="257"/>
            <ac:picMk id="2" creationId="{8AF632A4-5AD6-4C2E-9A63-444D9E0AFEF5}"/>
          </ac:picMkLst>
        </pc:picChg>
        <pc:picChg chg="add del mod">
          <ac:chgData name="Swati Srivastava" userId="sg+8E020WmvUHQdkEEMKzAl3HKzJOxs6XnuvEALaej8=" providerId="None" clId="Web-{420E881E-D658-46DB-A42E-D4940A9F6FBF}" dt="2022-03-02T22:16:38.161" v="137"/>
          <ac:picMkLst>
            <pc:docMk/>
            <pc:sldMk cId="1501710035" sldId="257"/>
            <ac:picMk id="4" creationId="{6ABF921F-2E46-461D-BA29-F6108EEE48DE}"/>
          </ac:picMkLst>
        </pc:picChg>
        <pc:picChg chg="add del mod">
          <ac:chgData name="Swati Srivastava" userId="sg+8E020WmvUHQdkEEMKzAl3HKzJOxs6XnuvEALaej8=" providerId="None" clId="Web-{420E881E-D658-46DB-A42E-D4940A9F6FBF}" dt="2022-03-02T22:57:48.981" v="257" actId="14100"/>
          <ac:picMkLst>
            <pc:docMk/>
            <pc:sldMk cId="1501710035" sldId="257"/>
            <ac:picMk id="4" creationId="{BAD4DCDB-38FF-4A3C-8D35-0C36B00B9ABF}"/>
          </ac:picMkLst>
        </pc:picChg>
        <pc:picChg chg="add del mod">
          <ac:chgData name="Swati Srivastava" userId="sg+8E020WmvUHQdkEEMKzAl3HKzJOxs6XnuvEALaej8=" providerId="None" clId="Web-{420E881E-D658-46DB-A42E-D4940A9F6FBF}" dt="2022-03-02T23:42:54.165" v="324"/>
          <ac:picMkLst>
            <pc:docMk/>
            <pc:sldMk cId="1501710035" sldId="257"/>
            <ac:picMk id="7" creationId="{666A2600-3906-4917-A717-E642E0B04ADA}"/>
          </ac:picMkLst>
        </pc:picChg>
        <pc:picChg chg="add del mod">
          <ac:chgData name="Swati Srivastava" userId="sg+8E020WmvUHQdkEEMKzAl3HKzJOxs6XnuvEALaej8=" providerId="None" clId="Web-{420E881E-D658-46DB-A42E-D4940A9F6FBF}" dt="2022-03-02T22:14:41.739" v="126"/>
          <ac:picMkLst>
            <pc:docMk/>
            <pc:sldMk cId="1501710035" sldId="257"/>
            <ac:picMk id="7" creationId="{A42FE5FB-E455-488D-8CCF-84804BF8FF17}"/>
          </ac:picMkLst>
        </pc:picChg>
        <pc:picChg chg="add del mod">
          <ac:chgData name="Swati Srivastava" userId="sg+8E020WmvUHQdkEEMKzAl3HKzJOxs6XnuvEALaej8=" providerId="None" clId="Web-{420E881E-D658-46DB-A42E-D4940A9F6FBF}" dt="2022-03-02T22:14:40.067" v="125"/>
          <ac:picMkLst>
            <pc:docMk/>
            <pc:sldMk cId="1501710035" sldId="257"/>
            <ac:picMk id="11" creationId="{554630F3-78E7-45F5-B9F8-40514C499B2C}"/>
          </ac:picMkLst>
        </pc:picChg>
        <pc:picChg chg="del mod modCrop">
          <ac:chgData name="Swati Srivastava" userId="sg+8E020WmvUHQdkEEMKzAl3HKzJOxs6XnuvEALaej8=" providerId="None" clId="Web-{420E881E-D658-46DB-A42E-D4940A9F6FBF}" dt="2022-03-02T22:21:54.331" v="144"/>
          <ac:picMkLst>
            <pc:docMk/>
            <pc:sldMk cId="1501710035" sldId="257"/>
            <ac:picMk id="13" creationId="{27A89E25-4840-47FA-978A-49FF1EC7B3C1}"/>
          </ac:picMkLst>
        </pc:picChg>
        <pc:picChg chg="del">
          <ac:chgData name="Swati Srivastava" userId="sg+8E020WmvUHQdkEEMKzAl3HKzJOxs6XnuvEALaej8=" providerId="None" clId="Web-{420E881E-D658-46DB-A42E-D4940A9F6FBF}" dt="2022-03-02T22:12:37.552" v="118"/>
          <ac:picMkLst>
            <pc:docMk/>
            <pc:sldMk cId="1501710035" sldId="257"/>
            <ac:picMk id="17" creationId="{46F369DB-209F-4C46-A919-8CB4D73EC1D5}"/>
          </ac:picMkLst>
        </pc:picChg>
        <pc:picChg chg="add del mod">
          <ac:chgData name="Swati Srivastava" userId="sg+8E020WmvUHQdkEEMKzAl3HKzJOxs6XnuvEALaej8=" providerId="None" clId="Web-{420E881E-D658-46DB-A42E-D4940A9F6FBF}" dt="2022-03-02T22:16:15.864" v="130"/>
          <ac:picMkLst>
            <pc:docMk/>
            <pc:sldMk cId="1501710035" sldId="257"/>
            <ac:picMk id="20" creationId="{7839299B-DC23-44B7-A4AE-E2A7E987DEA9}"/>
          </ac:picMkLst>
        </pc:picChg>
        <pc:picChg chg="add mod">
          <ac:chgData name="Swati Srivastava" userId="sg+8E020WmvUHQdkEEMKzAl3HKzJOxs6XnuvEALaej8=" providerId="None" clId="Web-{420E881E-D658-46DB-A42E-D4940A9F6FBF}" dt="2022-03-02T22:16:45.832" v="139" actId="1076"/>
          <ac:picMkLst>
            <pc:docMk/>
            <pc:sldMk cId="1501710035" sldId="257"/>
            <ac:picMk id="21" creationId="{D41E8FFF-E3F0-4DC9-BCA3-C8072E6CEEAB}"/>
          </ac:picMkLst>
        </pc:picChg>
        <pc:picChg chg="add mod">
          <ac:chgData name="Swati Srivastava" userId="sg+8E020WmvUHQdkEEMKzAl3HKzJOxs6XnuvEALaej8=" providerId="None" clId="Web-{420E881E-D658-46DB-A42E-D4940A9F6FBF}" dt="2022-03-02T22:44:54.436" v="204" actId="1076"/>
          <ac:picMkLst>
            <pc:docMk/>
            <pc:sldMk cId="1501710035" sldId="257"/>
            <ac:picMk id="22" creationId="{A6D167DA-64B2-46E6-9F58-C90F7B687F6F}"/>
          </ac:picMkLst>
        </pc:picChg>
        <pc:picChg chg="add del mod">
          <ac:chgData name="Swati Srivastava" userId="sg+8E020WmvUHQdkEEMKzAl3HKzJOxs6XnuvEALaej8=" providerId="None" clId="Web-{420E881E-D658-46DB-A42E-D4940A9F6FBF}" dt="2022-03-02T22:57:16.793" v="253"/>
          <ac:picMkLst>
            <pc:docMk/>
            <pc:sldMk cId="1501710035" sldId="257"/>
            <ac:picMk id="26" creationId="{98823E6A-A502-4B03-BCDF-F13713EC33BB}"/>
          </ac:picMkLst>
        </pc:picChg>
        <pc:picChg chg="add del mod">
          <ac:chgData name="Swati Srivastava" userId="sg+8E020WmvUHQdkEEMKzAl3HKzJOxs6XnuvEALaej8=" providerId="None" clId="Web-{420E881E-D658-46DB-A42E-D4940A9F6FBF}" dt="2022-03-03T00:20:15.954" v="384"/>
          <ac:picMkLst>
            <pc:docMk/>
            <pc:sldMk cId="1501710035" sldId="257"/>
            <ac:picMk id="93" creationId="{B681A7BB-8EAA-4BBC-B085-3302BD6F484D}"/>
          </ac:picMkLst>
        </pc:picChg>
        <pc:picChg chg="add del mod">
          <ac:chgData name="Swati Srivastava" userId="sg+8E020WmvUHQdkEEMKzAl3HKzJOxs6XnuvEALaej8=" providerId="None" clId="Web-{420E881E-D658-46DB-A42E-D4940A9F6FBF}" dt="2022-03-03T00:21:28.391" v="397"/>
          <ac:picMkLst>
            <pc:docMk/>
            <pc:sldMk cId="1501710035" sldId="257"/>
            <ac:picMk id="94" creationId="{E90F967B-5728-4C2B-86EA-1D031BDE700A}"/>
          </ac:picMkLst>
        </pc:picChg>
        <pc:picChg chg="add del mod">
          <ac:chgData name="Swati Srivastava" userId="sg+8E020WmvUHQdkEEMKzAl3HKzJOxs6XnuvEALaej8=" providerId="None" clId="Web-{420E881E-D658-46DB-A42E-D4940A9F6FBF}" dt="2022-03-03T00:23:07.860" v="406"/>
          <ac:picMkLst>
            <pc:docMk/>
            <pc:sldMk cId="1501710035" sldId="257"/>
            <ac:picMk id="95" creationId="{32DF3112-B2E8-4D01-9742-91CF09CBDAC8}"/>
          </ac:picMkLst>
        </pc:picChg>
        <pc:picChg chg="add mod modCrop">
          <ac:chgData name="Swati Srivastava" userId="sg+8E020WmvUHQdkEEMKzAl3HKzJOxs6XnuvEALaej8=" providerId="None" clId="Web-{420E881E-D658-46DB-A42E-D4940A9F6FBF}" dt="2022-03-03T00:24:37.547" v="420" actId="1076"/>
          <ac:picMkLst>
            <pc:docMk/>
            <pc:sldMk cId="1501710035" sldId="257"/>
            <ac:picMk id="97" creationId="{5A9E5080-197C-429C-B5A8-1B5FDF4BA55F}"/>
          </ac:picMkLst>
        </pc:picChg>
        <pc:picChg chg="add mod modCrop">
          <ac:chgData name="Swati Srivastava" userId="sg+8E020WmvUHQdkEEMKzAl3HKzJOxs6XnuvEALaej8=" providerId="None" clId="Web-{420E881E-D658-46DB-A42E-D4940A9F6FBF}" dt="2022-03-03T00:24:41.468" v="421" actId="1076"/>
          <ac:picMkLst>
            <pc:docMk/>
            <pc:sldMk cId="1501710035" sldId="257"/>
            <ac:picMk id="98" creationId="{F365FD75-8B31-4238-93A6-4018BB0DFED1}"/>
          </ac:picMkLst>
        </pc:picChg>
        <pc:picChg chg="add mod modCrop">
          <ac:chgData name="Swati Srivastava" userId="sg+8E020WmvUHQdkEEMKzAl3HKzJOxs6XnuvEALaej8=" providerId="None" clId="Web-{420E881E-D658-46DB-A42E-D4940A9F6FBF}" dt="2022-03-03T00:24:53.093" v="425" actId="1076"/>
          <ac:picMkLst>
            <pc:docMk/>
            <pc:sldMk cId="1501710035" sldId="257"/>
            <ac:picMk id="99" creationId="{28E9A511-9226-4A14-A828-D92797C483E6}"/>
          </ac:picMkLst>
        </pc:picChg>
        <pc:picChg chg="add mod">
          <ac:chgData name="Swati Srivastava" userId="sg+8E020WmvUHQdkEEMKzAl3HKzJOxs6XnuvEALaej8=" providerId="None" clId="Web-{420E881E-D658-46DB-A42E-D4940A9F6FBF}" dt="2022-03-03T00:25:11.968" v="429" actId="14100"/>
          <ac:picMkLst>
            <pc:docMk/>
            <pc:sldMk cId="1501710035" sldId="257"/>
            <ac:picMk id="100" creationId="{A528968B-7A35-4510-B2AD-088F97A6AA50}"/>
          </ac:picMkLst>
        </pc:picChg>
        <pc:picChg chg="del">
          <ac:chgData name="Swati Srivastava" userId="sg+8E020WmvUHQdkEEMKzAl3HKzJOxs6XnuvEALaej8=" providerId="None" clId="Web-{420E881E-D658-46DB-A42E-D4940A9F6FBF}" dt="2022-03-02T23:36:33.102" v="308"/>
          <ac:picMkLst>
            <pc:docMk/>
            <pc:sldMk cId="1501710035" sldId="257"/>
            <ac:picMk id="232" creationId="{D143F00E-3465-4B3B-B110-ACED8EE1C391}"/>
          </ac:picMkLst>
        </pc:picChg>
        <pc:cxnChg chg="del">
          <ac:chgData name="Swati Srivastava" userId="sg+8E020WmvUHQdkEEMKzAl3HKzJOxs6XnuvEALaej8=" providerId="None" clId="Web-{420E881E-D658-46DB-A42E-D4940A9F6FBF}" dt="2022-03-03T00:57:53.646" v="821"/>
          <ac:cxnSpMkLst>
            <pc:docMk/>
            <pc:sldMk cId="1501710035" sldId="257"/>
            <ac:cxnSpMk id="31" creationId="{B1814277-47D0-4435-B9B1-EF7CDECC74FB}"/>
          </ac:cxnSpMkLst>
        </pc:cxnChg>
        <pc:cxnChg chg="mod">
          <ac:chgData name="Swati Srivastava" userId="sg+8E020WmvUHQdkEEMKzAl3HKzJOxs6XnuvEALaej8=" providerId="None" clId="Web-{420E881E-D658-46DB-A42E-D4940A9F6FBF}" dt="2022-03-02T22:44:53.014" v="202" actId="1076"/>
          <ac:cxnSpMkLst>
            <pc:docMk/>
            <pc:sldMk cId="1501710035" sldId="257"/>
            <ac:cxnSpMk id="38" creationId="{4EF49B87-0CD0-4F15-9D69-6AD7C5E2D872}"/>
          </ac:cxnSpMkLst>
        </pc:cxnChg>
        <pc:cxnChg chg="mod">
          <ac:chgData name="Swati Srivastava" userId="sg+8E020WmvUHQdkEEMKzAl3HKzJOxs6XnuvEALaej8=" providerId="None" clId="Web-{420E881E-D658-46DB-A42E-D4940A9F6FBF}" dt="2022-03-02T22:57:54.449" v="258" actId="1076"/>
          <ac:cxnSpMkLst>
            <pc:docMk/>
            <pc:sldMk cId="1501710035" sldId="257"/>
            <ac:cxnSpMk id="59" creationId="{C38BFAAA-48E0-4657-9A69-342B69C0DE4D}"/>
          </ac:cxnSpMkLst>
        </pc:cxnChg>
        <pc:cxnChg chg="del mod">
          <ac:chgData name="Swati Srivastava" userId="sg+8E020WmvUHQdkEEMKzAl3HKzJOxs6XnuvEALaej8=" providerId="None" clId="Web-{420E881E-D658-46DB-A42E-D4940A9F6FBF}" dt="2022-03-03T00:31:24.560" v="541"/>
          <ac:cxnSpMkLst>
            <pc:docMk/>
            <pc:sldMk cId="1501710035" sldId="257"/>
            <ac:cxnSpMk id="65" creationId="{2A5596FE-4FC2-411E-B720-F3ED6345D646}"/>
          </ac:cxnSpMkLst>
        </pc:cxnChg>
        <pc:cxnChg chg="mod">
          <ac:chgData name="Swati Srivastava" userId="sg+8E020WmvUHQdkEEMKzAl3HKzJOxs6XnuvEALaej8=" providerId="None" clId="Web-{420E881E-D658-46DB-A42E-D4940A9F6FBF}" dt="2022-03-02T22:58:25.715" v="266" actId="14100"/>
          <ac:cxnSpMkLst>
            <pc:docMk/>
            <pc:sldMk cId="1501710035" sldId="257"/>
            <ac:cxnSpMk id="74" creationId="{1226D37E-9553-454B-A4AB-E33CD7436CAA}"/>
          </ac:cxnSpMkLst>
        </pc:cxnChg>
        <pc:cxnChg chg="add mod">
          <ac:chgData name="Swati Srivastava" userId="sg+8E020WmvUHQdkEEMKzAl3HKzJOxs6XnuvEALaej8=" providerId="None" clId="Web-{420E881E-D658-46DB-A42E-D4940A9F6FBF}" dt="2022-03-03T00:31:34.388" v="544" actId="1076"/>
          <ac:cxnSpMkLst>
            <pc:docMk/>
            <pc:sldMk cId="1501710035" sldId="257"/>
            <ac:cxnSpMk id="102" creationId="{63B6A559-618D-41E3-A62C-904B9A4CC215}"/>
          </ac:cxnSpMkLst>
        </pc:cxnChg>
        <pc:cxnChg chg="mod">
          <ac:chgData name="Swati Srivastava" userId="sg+8E020WmvUHQdkEEMKzAl3HKzJOxs6XnuvEALaej8=" providerId="None" clId="Web-{420E881E-D658-46DB-A42E-D4940A9F6FBF}" dt="2022-03-02T22:45:14.686" v="209" actId="1076"/>
          <ac:cxnSpMkLst>
            <pc:docMk/>
            <pc:sldMk cId="1501710035" sldId="257"/>
            <ac:cxnSpMk id="181" creationId="{7F8D026A-672F-4B41-B4D6-3B45C79B46F6}"/>
          </ac:cxnSpMkLst>
        </pc:cxnChg>
        <pc:cxnChg chg="del">
          <ac:chgData name="Swati Srivastava" userId="sg+8E020WmvUHQdkEEMKzAl3HKzJOxs6XnuvEALaej8=" providerId="None" clId="Web-{420E881E-D658-46DB-A42E-D4940A9F6FBF}" dt="2022-03-03T00:57:50.021" v="820"/>
          <ac:cxnSpMkLst>
            <pc:docMk/>
            <pc:sldMk cId="1501710035" sldId="257"/>
            <ac:cxnSpMk id="196" creationId="{A4464AE5-E759-4A58-9F89-7A65682AE1ED}"/>
          </ac:cxnSpMkLst>
        </pc:cxnChg>
        <pc:cxnChg chg="del mod">
          <ac:chgData name="Swati Srivastava" userId="sg+8E020WmvUHQdkEEMKzAl3HKzJOxs6XnuvEALaej8=" providerId="None" clId="Web-{420E881E-D658-46DB-A42E-D4940A9F6FBF}" dt="2022-03-03T00:57:41.959" v="817"/>
          <ac:cxnSpMkLst>
            <pc:docMk/>
            <pc:sldMk cId="1501710035" sldId="257"/>
            <ac:cxnSpMk id="198" creationId="{9F4CE6A0-610E-45C2-B567-2D4132F512E9}"/>
          </ac:cxnSpMkLst>
        </pc:cxnChg>
        <pc:cxnChg chg="del">
          <ac:chgData name="Swati Srivastava" userId="sg+8E020WmvUHQdkEEMKzAl3HKzJOxs6XnuvEALaej8=" providerId="None" clId="Web-{420E881E-D658-46DB-A42E-D4940A9F6FBF}" dt="2022-03-03T00:57:40.615" v="816"/>
          <ac:cxnSpMkLst>
            <pc:docMk/>
            <pc:sldMk cId="1501710035" sldId="257"/>
            <ac:cxnSpMk id="200" creationId="{E56FBEC2-7CCC-4A5D-ADAE-90708A501A48}"/>
          </ac:cxnSpMkLst>
        </pc:cxnChg>
        <pc:cxnChg chg="del">
          <ac:chgData name="Swati Srivastava" userId="sg+8E020WmvUHQdkEEMKzAl3HKzJOxs6XnuvEALaej8=" providerId="None" clId="Web-{420E881E-D658-46DB-A42E-D4940A9F6FBF}" dt="2022-03-03T00:58:00.474" v="824"/>
          <ac:cxnSpMkLst>
            <pc:docMk/>
            <pc:sldMk cId="1501710035" sldId="257"/>
            <ac:cxnSpMk id="202" creationId="{6F87F070-BE6F-44C3-969C-C134E3D5A1F5}"/>
          </ac:cxnSpMkLst>
        </pc:cxnChg>
        <pc:cxnChg chg="del mod">
          <ac:chgData name="Swati Srivastava" userId="sg+8E020WmvUHQdkEEMKzAl3HKzJOxs6XnuvEALaej8=" providerId="None" clId="Web-{420E881E-D658-46DB-A42E-D4940A9F6FBF}" dt="2022-03-03T00:58:02.130" v="825"/>
          <ac:cxnSpMkLst>
            <pc:docMk/>
            <pc:sldMk cId="1501710035" sldId="257"/>
            <ac:cxnSpMk id="203" creationId="{4B335628-AB94-4FD8-8A94-D4B3E8AEC20E}"/>
          </ac:cxnSpMkLst>
        </pc:cxnChg>
        <pc:cxnChg chg="mod">
          <ac:chgData name="Swati Srivastava" userId="sg+8E020WmvUHQdkEEMKzAl3HKzJOxs6XnuvEALaej8=" providerId="None" clId="Web-{420E881E-D658-46DB-A42E-D4940A9F6FBF}" dt="2022-03-03T00:13:00.956" v="353" actId="1076"/>
          <ac:cxnSpMkLst>
            <pc:docMk/>
            <pc:sldMk cId="1501710035" sldId="257"/>
            <ac:cxnSpMk id="205" creationId="{59DC9773-E706-4942-A186-2BA06992AE3A}"/>
          </ac:cxnSpMkLst>
        </pc:cxnChg>
      </pc:sldChg>
    </pc:docChg>
  </pc:docChgLst>
  <pc:docChgLst>
    <pc:chgData name="Yu-Lin Tai" userId="qxBCN0BVxyTI6XZ8yOgnvlc88beCnpFuFd6D99Fo7n0=" providerId="None" clId="Web-{DA4D9B34-A814-45B8-8377-5E88C29D4324}"/>
    <pc:docChg chg="modSld">
      <pc:chgData name="Yu-Lin Tai" userId="qxBCN0BVxyTI6XZ8yOgnvlc88beCnpFuFd6D99Fo7n0=" providerId="None" clId="Web-{DA4D9B34-A814-45B8-8377-5E88C29D4324}" dt="2022-03-04T21:25:26.473" v="1" actId="1076"/>
      <pc:docMkLst>
        <pc:docMk/>
      </pc:docMkLst>
      <pc:sldChg chg="modSp">
        <pc:chgData name="Yu-Lin Tai" userId="qxBCN0BVxyTI6XZ8yOgnvlc88beCnpFuFd6D99Fo7n0=" providerId="None" clId="Web-{DA4D9B34-A814-45B8-8377-5E88C29D4324}" dt="2022-03-04T21:25:26.473" v="1" actId="1076"/>
        <pc:sldMkLst>
          <pc:docMk/>
          <pc:sldMk cId="1501710035" sldId="257"/>
        </pc:sldMkLst>
        <pc:picChg chg="mod">
          <ac:chgData name="Yu-Lin Tai" userId="qxBCN0BVxyTI6XZ8yOgnvlc88beCnpFuFd6D99Fo7n0=" providerId="None" clId="Web-{DA4D9B34-A814-45B8-8377-5E88C29D4324}" dt="2022-03-04T21:25:26.473" v="1" actId="1076"/>
          <ac:picMkLst>
            <pc:docMk/>
            <pc:sldMk cId="1501710035" sldId="257"/>
            <ac:picMk id="22" creationId="{A6D167DA-64B2-46E6-9F58-C90F7B687F6F}"/>
          </ac:picMkLst>
        </pc:picChg>
      </pc:sldChg>
    </pc:docChg>
  </pc:docChgLst>
  <pc:docChgLst>
    <pc:chgData name="Swati Srivastava" userId="sg+8E020WmvUHQdkEEMKzAl3HKzJOxs6XnuvEALaej8=" providerId="None" clId="Web-{67D769F3-3A09-4749-9FC0-8D43A9B18C11}"/>
    <pc:docChg chg="modSld">
      <pc:chgData name="Swati Srivastava" userId="sg+8E020WmvUHQdkEEMKzAl3HKzJOxs6XnuvEALaej8=" providerId="None" clId="Web-{67D769F3-3A09-4749-9FC0-8D43A9B18C11}" dt="2022-03-03T21:55:01.643" v="342" actId="1076"/>
      <pc:docMkLst>
        <pc:docMk/>
      </pc:docMkLst>
      <pc:sldChg chg="modSp">
        <pc:chgData name="Swati Srivastava" userId="sg+8E020WmvUHQdkEEMKzAl3HKzJOxs6XnuvEALaej8=" providerId="None" clId="Web-{67D769F3-3A09-4749-9FC0-8D43A9B18C11}" dt="2022-03-03T21:55:01.643" v="342" actId="1076"/>
        <pc:sldMkLst>
          <pc:docMk/>
          <pc:sldMk cId="1501710035" sldId="257"/>
        </pc:sldMkLst>
        <pc:spChg chg="mod">
          <ac:chgData name="Swati Srivastava" userId="sg+8E020WmvUHQdkEEMKzAl3HKzJOxs6XnuvEALaej8=" providerId="None" clId="Web-{67D769F3-3A09-4749-9FC0-8D43A9B18C11}" dt="2022-03-03T21:53:11.581" v="339" actId="20577"/>
          <ac:spMkLst>
            <pc:docMk/>
            <pc:sldMk cId="1501710035" sldId="257"/>
            <ac:spMk id="10" creationId="{63492AC6-4137-416C-80D7-23A7961A3E88}"/>
          </ac:spMkLst>
        </pc:spChg>
        <pc:spChg chg="mod">
          <ac:chgData name="Swati Srivastava" userId="sg+8E020WmvUHQdkEEMKzAl3HKzJOxs6XnuvEALaej8=" providerId="None" clId="Web-{67D769F3-3A09-4749-9FC0-8D43A9B18C11}" dt="2022-03-03T21:27:09.209" v="27" actId="1076"/>
          <ac:spMkLst>
            <pc:docMk/>
            <pc:sldMk cId="1501710035" sldId="257"/>
            <ac:spMk id="34" creationId="{1E691D5B-DEA8-4C56-96F7-361BD5DF17DE}"/>
          </ac:spMkLst>
        </pc:spChg>
        <pc:spChg chg="mod">
          <ac:chgData name="Swati Srivastava" userId="sg+8E020WmvUHQdkEEMKzAl3HKzJOxs6XnuvEALaej8=" providerId="None" clId="Web-{67D769F3-3A09-4749-9FC0-8D43A9B18C11}" dt="2022-03-03T21:27:09.740" v="28" actId="1076"/>
          <ac:spMkLst>
            <pc:docMk/>
            <pc:sldMk cId="1501710035" sldId="257"/>
            <ac:spMk id="36" creationId="{E9989D70-EF79-47D4-BB0B-547709F3D730}"/>
          </ac:spMkLst>
        </pc:spChg>
        <pc:spChg chg="mod">
          <ac:chgData name="Swati Srivastava" userId="sg+8E020WmvUHQdkEEMKzAl3HKzJOxs6XnuvEALaej8=" providerId="None" clId="Web-{67D769F3-3A09-4749-9FC0-8D43A9B18C11}" dt="2022-03-03T21:48:39.128" v="302" actId="1076"/>
          <ac:spMkLst>
            <pc:docMk/>
            <pc:sldMk cId="1501710035" sldId="257"/>
            <ac:spMk id="63" creationId="{97CA9C7E-75CF-4B4F-B23D-B9E6F06A8820}"/>
          </ac:spMkLst>
        </pc:spChg>
        <pc:spChg chg="mod">
          <ac:chgData name="Swati Srivastava" userId="sg+8E020WmvUHQdkEEMKzAl3HKzJOxs6XnuvEALaej8=" providerId="None" clId="Web-{67D769F3-3A09-4749-9FC0-8D43A9B18C11}" dt="2022-03-03T21:48:56.722" v="304" actId="1076"/>
          <ac:spMkLst>
            <pc:docMk/>
            <pc:sldMk cId="1501710035" sldId="257"/>
            <ac:spMk id="64" creationId="{B4C592E6-539E-40D8-AD36-19E6A3EF344A}"/>
          </ac:spMkLst>
        </pc:spChg>
        <pc:spChg chg="mod">
          <ac:chgData name="Swati Srivastava" userId="sg+8E020WmvUHQdkEEMKzAl3HKzJOxs6XnuvEALaej8=" providerId="None" clId="Web-{67D769F3-3A09-4749-9FC0-8D43A9B18C11}" dt="2022-03-03T21:55:01.643" v="342" actId="1076"/>
          <ac:spMkLst>
            <pc:docMk/>
            <pc:sldMk cId="1501710035" sldId="257"/>
            <ac:spMk id="103" creationId="{2F76351F-9D02-45DE-B6F2-FE328717BBD9}"/>
          </ac:spMkLst>
        </pc:spChg>
        <pc:spChg chg="mod">
          <ac:chgData name="Swati Srivastava" userId="sg+8E020WmvUHQdkEEMKzAl3HKzJOxs6XnuvEALaej8=" providerId="None" clId="Web-{67D769F3-3A09-4749-9FC0-8D43A9B18C11}" dt="2022-03-03T21:27:17.475" v="31" actId="1076"/>
          <ac:spMkLst>
            <pc:docMk/>
            <pc:sldMk cId="1501710035" sldId="257"/>
            <ac:spMk id="104" creationId="{2BCA9E67-8E04-44DC-A24B-E8557BE6C17E}"/>
          </ac:spMkLst>
        </pc:spChg>
        <pc:spChg chg="mod">
          <ac:chgData name="Swati Srivastava" userId="sg+8E020WmvUHQdkEEMKzAl3HKzJOxs6XnuvEALaej8=" providerId="None" clId="Web-{67D769F3-3A09-4749-9FC0-8D43A9B18C11}" dt="2022-03-03T21:54:56.175" v="341" actId="1076"/>
          <ac:spMkLst>
            <pc:docMk/>
            <pc:sldMk cId="1501710035" sldId="257"/>
            <ac:spMk id="105" creationId="{09694568-FBFD-4B0E-96E5-CBF182AEC315}"/>
          </ac:spMkLst>
        </pc:spChg>
        <pc:spChg chg="mod">
          <ac:chgData name="Swati Srivastava" userId="sg+8E020WmvUHQdkEEMKzAl3HKzJOxs6XnuvEALaej8=" providerId="None" clId="Web-{67D769F3-3A09-4749-9FC0-8D43A9B18C11}" dt="2022-03-03T21:29:59.568" v="73" actId="14100"/>
          <ac:spMkLst>
            <pc:docMk/>
            <pc:sldMk cId="1501710035" sldId="257"/>
            <ac:spMk id="209" creationId="{231A1C19-1905-4CA9-9C87-3C1F35D48A04}"/>
          </ac:spMkLst>
        </pc:spChg>
        <pc:picChg chg="mod">
          <ac:chgData name="Swati Srivastava" userId="sg+8E020WmvUHQdkEEMKzAl3HKzJOxs6XnuvEALaej8=" providerId="None" clId="Web-{67D769F3-3A09-4749-9FC0-8D43A9B18C11}" dt="2022-03-03T21:27:11.647" v="30" actId="1076"/>
          <ac:picMkLst>
            <pc:docMk/>
            <pc:sldMk cId="1501710035" sldId="257"/>
            <ac:picMk id="22" creationId="{A6D167DA-64B2-46E6-9F58-C90F7B687F6F}"/>
          </ac:picMkLst>
        </pc:picChg>
        <pc:cxnChg chg="mod">
          <ac:chgData name="Swati Srivastava" userId="sg+8E020WmvUHQdkEEMKzAl3HKzJOxs6XnuvEALaej8=" providerId="None" clId="Web-{67D769F3-3A09-4749-9FC0-8D43A9B18C11}" dt="2022-03-03T21:27:10.272" v="29" actId="1076"/>
          <ac:cxnSpMkLst>
            <pc:docMk/>
            <pc:sldMk cId="1501710035" sldId="257"/>
            <ac:cxnSpMk id="38" creationId="{4EF49B87-0CD0-4F15-9D69-6AD7C5E2D872}"/>
          </ac:cxnSpMkLst>
        </pc:cxnChg>
        <pc:cxnChg chg="mod">
          <ac:chgData name="Swati Srivastava" userId="sg+8E020WmvUHQdkEEMKzAl3HKzJOxs6XnuvEALaej8=" providerId="None" clId="Web-{67D769F3-3A09-4749-9FC0-8D43A9B18C11}" dt="2022-03-03T21:48:57.347" v="305" actId="1076"/>
          <ac:cxnSpMkLst>
            <pc:docMk/>
            <pc:sldMk cId="1501710035" sldId="257"/>
            <ac:cxnSpMk id="102" creationId="{63B6A559-618D-41E3-A62C-904B9A4CC215}"/>
          </ac:cxnSpMkLst>
        </pc:cxnChg>
      </pc:sldChg>
    </pc:docChg>
  </pc:docChgLst>
  <pc:docChgLst>
    <pc:chgData name="Yu-Lin Tai" userId="qxBCN0BVxyTI6XZ8yOgnvlc88beCnpFuFd6D99Fo7n0=" providerId="None" clId="Web-{9C0BE6AE-034C-497E-A35A-530DEFC914A1}"/>
    <pc:docChg chg="modSld">
      <pc:chgData name="Yu-Lin Tai" userId="qxBCN0BVxyTI6XZ8yOgnvlc88beCnpFuFd6D99Fo7n0=" providerId="None" clId="Web-{9C0BE6AE-034C-497E-A35A-530DEFC914A1}" dt="2022-03-12T03:23:54.095" v="30"/>
      <pc:docMkLst>
        <pc:docMk/>
      </pc:docMkLst>
      <pc:sldChg chg="addSp delSp modSp">
        <pc:chgData name="Yu-Lin Tai" userId="qxBCN0BVxyTI6XZ8yOgnvlc88beCnpFuFd6D99Fo7n0=" providerId="None" clId="Web-{9C0BE6AE-034C-497E-A35A-530DEFC914A1}" dt="2022-03-12T03:23:54.095" v="30"/>
        <pc:sldMkLst>
          <pc:docMk/>
          <pc:sldMk cId="1501710035" sldId="257"/>
        </pc:sldMkLst>
        <pc:picChg chg="add del mod">
          <ac:chgData name="Yu-Lin Tai" userId="qxBCN0BVxyTI6XZ8yOgnvlc88beCnpFuFd6D99Fo7n0=" providerId="None" clId="Web-{9C0BE6AE-034C-497E-A35A-530DEFC914A1}" dt="2022-03-12T03:20:44.454" v="7"/>
          <ac:picMkLst>
            <pc:docMk/>
            <pc:sldMk cId="1501710035" sldId="257"/>
            <ac:picMk id="2" creationId="{FEB79971-32C1-435D-A151-AD0020770781}"/>
          </ac:picMkLst>
        </pc:picChg>
        <pc:picChg chg="del">
          <ac:chgData name="Yu-Lin Tai" userId="qxBCN0BVxyTI6XZ8yOgnvlc88beCnpFuFd6D99Fo7n0=" providerId="None" clId="Web-{9C0BE6AE-034C-497E-A35A-530DEFC914A1}" dt="2022-03-12T03:18:24.642" v="0"/>
          <ac:picMkLst>
            <pc:docMk/>
            <pc:sldMk cId="1501710035" sldId="257"/>
            <ac:picMk id="11" creationId="{ABD0B770-DC5B-4878-AC36-45ECBDC20431}"/>
          </ac:picMkLst>
        </pc:picChg>
        <pc:picChg chg="add del mod">
          <ac:chgData name="Yu-Lin Tai" userId="qxBCN0BVxyTI6XZ8yOgnvlc88beCnpFuFd6D99Fo7n0=" providerId="None" clId="Web-{9C0BE6AE-034C-497E-A35A-530DEFC914A1}" dt="2022-03-12T03:22:21.892" v="15"/>
          <ac:picMkLst>
            <pc:docMk/>
            <pc:sldMk cId="1501710035" sldId="257"/>
            <ac:picMk id="13" creationId="{4FE83FFF-2820-425D-80C2-E60504F0907E}"/>
          </ac:picMkLst>
        </pc:picChg>
        <pc:picChg chg="add del mod">
          <ac:chgData name="Yu-Lin Tai" userId="qxBCN0BVxyTI6XZ8yOgnvlc88beCnpFuFd6D99Fo7n0=" providerId="None" clId="Web-{9C0BE6AE-034C-497E-A35A-530DEFC914A1}" dt="2022-03-12T03:21:35.657" v="12"/>
          <ac:picMkLst>
            <pc:docMk/>
            <pc:sldMk cId="1501710035" sldId="257"/>
            <ac:picMk id="17" creationId="{470CDE48-6BAA-44B0-BB53-141797E41F86}"/>
          </ac:picMkLst>
        </pc:picChg>
        <pc:picChg chg="add del mod">
          <ac:chgData name="Yu-Lin Tai" userId="qxBCN0BVxyTI6XZ8yOgnvlc88beCnpFuFd6D99Fo7n0=" providerId="None" clId="Web-{9C0BE6AE-034C-497E-A35A-530DEFC914A1}" dt="2022-03-12T03:22:36.954" v="18"/>
          <ac:picMkLst>
            <pc:docMk/>
            <pc:sldMk cId="1501710035" sldId="257"/>
            <ac:picMk id="20" creationId="{67061D4F-2FDB-43A5-AB76-B3C2DF60784D}"/>
          </ac:picMkLst>
        </pc:picChg>
        <pc:picChg chg="add mod">
          <ac:chgData name="Yu-Lin Tai" userId="qxBCN0BVxyTI6XZ8yOgnvlc88beCnpFuFd6D99Fo7n0=" providerId="None" clId="Web-{9C0BE6AE-034C-497E-A35A-530DEFC914A1}" dt="2022-03-12T03:23:10.345" v="28" actId="1076"/>
          <ac:picMkLst>
            <pc:docMk/>
            <pc:sldMk cId="1501710035" sldId="257"/>
            <ac:picMk id="21" creationId="{ACCC7F4F-C3F7-416C-ACE5-03E5D53A0425}"/>
          </ac:picMkLst>
        </pc:picChg>
        <pc:picChg chg="add del mod">
          <ac:chgData name="Yu-Lin Tai" userId="qxBCN0BVxyTI6XZ8yOgnvlc88beCnpFuFd6D99Fo7n0=" providerId="None" clId="Web-{9C0BE6AE-034C-497E-A35A-530DEFC914A1}" dt="2022-03-12T03:23:54.095" v="30"/>
          <ac:picMkLst>
            <pc:docMk/>
            <pc:sldMk cId="1501710035" sldId="257"/>
            <ac:picMk id="23" creationId="{D500A0FB-503F-41B6-9BBE-C77F97C6C5DC}"/>
          </ac:picMkLst>
        </pc:picChg>
      </pc:sldChg>
    </pc:docChg>
  </pc:docChgLst>
  <pc:docChgLst>
    <pc:chgData name="Yu-Lin Tai" userId="qxBCN0BVxyTI6XZ8yOgnvlc88beCnpFuFd6D99Fo7n0=" providerId="None" clId="Web-{E7937C6B-949C-4DA6-9EBA-C46F24D4B6C1}"/>
    <pc:docChg chg="modSld">
      <pc:chgData name="Yu-Lin Tai" userId="qxBCN0BVxyTI6XZ8yOgnvlc88beCnpFuFd6D99Fo7n0=" providerId="None" clId="Web-{E7937C6B-949C-4DA6-9EBA-C46F24D4B6C1}" dt="2022-03-29T20:36:22.039" v="76" actId="20577"/>
      <pc:docMkLst>
        <pc:docMk/>
      </pc:docMkLst>
      <pc:sldChg chg="addSp delSp modSp">
        <pc:chgData name="Yu-Lin Tai" userId="qxBCN0BVxyTI6XZ8yOgnvlc88beCnpFuFd6D99Fo7n0=" providerId="None" clId="Web-{E7937C6B-949C-4DA6-9EBA-C46F24D4B6C1}" dt="2022-03-29T20:36:22.039" v="76" actId="20577"/>
        <pc:sldMkLst>
          <pc:docMk/>
          <pc:sldMk cId="1501710035" sldId="257"/>
        </pc:sldMkLst>
        <pc:spChg chg="mod">
          <ac:chgData name="Yu-Lin Tai" userId="qxBCN0BVxyTI6XZ8yOgnvlc88beCnpFuFd6D99Fo7n0=" providerId="None" clId="Web-{E7937C6B-949C-4DA6-9EBA-C46F24D4B6C1}" dt="2022-03-29T20:36:22.039" v="76" actId="20577"/>
          <ac:spMkLst>
            <pc:docMk/>
            <pc:sldMk cId="1501710035" sldId="257"/>
            <ac:spMk id="7" creationId="{9E8822D4-6689-4B34-BD0A-6168092D67C2}"/>
          </ac:spMkLst>
        </pc:spChg>
        <pc:picChg chg="add del mod">
          <ac:chgData name="Yu-Lin Tai" userId="qxBCN0BVxyTI6XZ8yOgnvlc88beCnpFuFd6D99Fo7n0=" providerId="None" clId="Web-{E7937C6B-949C-4DA6-9EBA-C46F24D4B6C1}" dt="2022-03-29T20:13:57.571" v="8"/>
          <ac:picMkLst>
            <pc:docMk/>
            <pc:sldMk cId="1501710035" sldId="257"/>
            <ac:picMk id="2" creationId="{14272A4A-81FB-B1E5-B145-770A63569D91}"/>
          </ac:picMkLst>
        </pc:picChg>
        <pc:picChg chg="del">
          <ac:chgData name="Yu-Lin Tai" userId="qxBCN0BVxyTI6XZ8yOgnvlc88beCnpFuFd6D99Fo7n0=" providerId="None" clId="Web-{E7937C6B-949C-4DA6-9EBA-C46F24D4B6C1}" dt="2022-03-29T20:14:44.539" v="23"/>
          <ac:picMkLst>
            <pc:docMk/>
            <pc:sldMk cId="1501710035" sldId="257"/>
            <ac:picMk id="4" creationId="{BAD4DCDB-38FF-4A3C-8D35-0C36B00B9ABF}"/>
          </ac:picMkLst>
        </pc:picChg>
        <pc:picChg chg="add mod">
          <ac:chgData name="Yu-Lin Tai" userId="qxBCN0BVxyTI6XZ8yOgnvlc88beCnpFuFd6D99Fo7n0=" providerId="None" clId="Web-{E7937C6B-949C-4DA6-9EBA-C46F24D4B6C1}" dt="2022-03-29T20:14:50.695" v="24" actId="1076"/>
          <ac:picMkLst>
            <pc:docMk/>
            <pc:sldMk cId="1501710035" sldId="257"/>
            <ac:picMk id="11" creationId="{37F1625F-9714-0171-4EEB-53CAF3B85480}"/>
          </ac:picMkLst>
        </pc:picChg>
        <pc:picChg chg="add mod">
          <ac:chgData name="Yu-Lin Tai" userId="qxBCN0BVxyTI6XZ8yOgnvlc88beCnpFuFd6D99Fo7n0=" providerId="None" clId="Web-{E7937C6B-949C-4DA6-9EBA-C46F24D4B6C1}" dt="2022-03-29T20:24:28.485" v="37" actId="14100"/>
          <ac:picMkLst>
            <pc:docMk/>
            <pc:sldMk cId="1501710035" sldId="257"/>
            <ac:picMk id="13" creationId="{1F8C8E7A-B182-CC48-1A68-2AEFA63C6DA9}"/>
          </ac:picMkLst>
        </pc:picChg>
        <pc:picChg chg="add mod">
          <ac:chgData name="Yu-Lin Tai" userId="qxBCN0BVxyTI6XZ8yOgnvlc88beCnpFuFd6D99Fo7n0=" providerId="None" clId="Web-{E7937C6B-949C-4DA6-9EBA-C46F24D4B6C1}" dt="2022-03-29T20:35:04.383" v="57" actId="14100"/>
          <ac:picMkLst>
            <pc:docMk/>
            <pc:sldMk cId="1501710035" sldId="257"/>
            <ac:picMk id="17" creationId="{D93400DD-0F33-7A06-7C9C-F48FC5F55410}"/>
          </ac:picMkLst>
        </pc:picChg>
        <pc:picChg chg="add del mod">
          <ac:chgData name="Yu-Lin Tai" userId="qxBCN0BVxyTI6XZ8yOgnvlc88beCnpFuFd6D99Fo7n0=" providerId="None" clId="Web-{E7937C6B-949C-4DA6-9EBA-C46F24D4B6C1}" dt="2022-03-29T20:33:53.853" v="41"/>
          <ac:picMkLst>
            <pc:docMk/>
            <pc:sldMk cId="1501710035" sldId="257"/>
            <ac:picMk id="20" creationId="{720858D0-9187-1CE7-6C82-242641494948}"/>
          </ac:picMkLst>
        </pc:picChg>
        <pc:picChg chg="del">
          <ac:chgData name="Yu-Lin Tai" userId="qxBCN0BVxyTI6XZ8yOgnvlc88beCnpFuFd6D99Fo7n0=" providerId="None" clId="Web-{E7937C6B-949C-4DA6-9EBA-C46F24D4B6C1}" dt="2022-03-29T20:33:36.009" v="38"/>
          <ac:picMkLst>
            <pc:docMk/>
            <pc:sldMk cId="1501710035" sldId="257"/>
            <ac:picMk id="99" creationId="{28E9A511-9226-4A14-A828-D92797C483E6}"/>
          </ac:picMkLst>
        </pc:picChg>
        <pc:picChg chg="del">
          <ac:chgData name="Yu-Lin Tai" userId="qxBCN0BVxyTI6XZ8yOgnvlc88beCnpFuFd6D99Fo7n0=" providerId="None" clId="Web-{E7937C6B-949C-4DA6-9EBA-C46F24D4B6C1}" dt="2022-03-29T20:19:02.286" v="25"/>
          <ac:picMkLst>
            <pc:docMk/>
            <pc:sldMk cId="1501710035" sldId="257"/>
            <ac:picMk id="100" creationId="{A528968B-7A35-4510-B2AD-088F97A6AA50}"/>
          </ac:picMkLst>
        </pc:picChg>
      </pc:sldChg>
    </pc:docChg>
  </pc:docChgLst>
  <pc:docChgLst>
    <pc:chgData name="Swati Srivastava" userId="sg+8E020WmvUHQdkEEMKzAl3HKzJOxs6XnuvEALaej8=" providerId="None" clId="Web-{5DB8D2E8-B4DD-4999-B03E-D10D7AEC7780}"/>
    <pc:docChg chg="modSld">
      <pc:chgData name="Swati Srivastava" userId="sg+8E020WmvUHQdkEEMKzAl3HKzJOxs6XnuvEALaej8=" providerId="None" clId="Web-{5DB8D2E8-B4DD-4999-B03E-D10D7AEC7780}" dt="2022-03-11T20:09:28.381" v="13" actId="1076"/>
      <pc:docMkLst>
        <pc:docMk/>
      </pc:docMkLst>
      <pc:sldChg chg="delSp modSp">
        <pc:chgData name="Swati Srivastava" userId="sg+8E020WmvUHQdkEEMKzAl3HKzJOxs6XnuvEALaej8=" providerId="None" clId="Web-{5DB8D2E8-B4DD-4999-B03E-D10D7AEC7780}" dt="2022-03-11T20:09:28.381" v="13" actId="1076"/>
        <pc:sldMkLst>
          <pc:docMk/>
          <pc:sldMk cId="1501710035" sldId="257"/>
        </pc:sldMkLst>
        <pc:spChg chg="mod">
          <ac:chgData name="Swati Srivastava" userId="sg+8E020WmvUHQdkEEMKzAl3HKzJOxs6XnuvEALaej8=" providerId="None" clId="Web-{5DB8D2E8-B4DD-4999-B03E-D10D7AEC7780}" dt="2022-03-11T20:09:28.381" v="13" actId="1076"/>
          <ac:spMkLst>
            <pc:docMk/>
            <pc:sldMk cId="1501710035" sldId="257"/>
            <ac:spMk id="10" creationId="{63492AC6-4137-416C-80D7-23A7961A3E88}"/>
          </ac:spMkLst>
        </pc:spChg>
        <pc:spChg chg="mod">
          <ac:chgData name="Swati Srivastava" userId="sg+8E020WmvUHQdkEEMKzAl3HKzJOxs6XnuvEALaej8=" providerId="None" clId="Web-{5DB8D2E8-B4DD-4999-B03E-D10D7AEC7780}" dt="2022-03-11T20:09:07.865" v="9" actId="1076"/>
          <ac:spMkLst>
            <pc:docMk/>
            <pc:sldMk cId="1501710035" sldId="257"/>
            <ac:spMk id="83" creationId="{9B25FB0D-B9A9-419F-8972-0D336D67093E}"/>
          </ac:spMkLst>
        </pc:spChg>
        <pc:spChg chg="mod">
          <ac:chgData name="Swati Srivastava" userId="sg+8E020WmvUHQdkEEMKzAl3HKzJOxs6XnuvEALaej8=" providerId="None" clId="Web-{5DB8D2E8-B4DD-4999-B03E-D10D7AEC7780}" dt="2022-03-11T20:09:13.100" v="11" actId="1076"/>
          <ac:spMkLst>
            <pc:docMk/>
            <pc:sldMk cId="1501710035" sldId="257"/>
            <ac:spMk id="86" creationId="{716B8C27-AE07-40B7-9356-7DDDCF331E53}"/>
          </ac:spMkLst>
        </pc:spChg>
        <pc:spChg chg="mod">
          <ac:chgData name="Swati Srivastava" userId="sg+8E020WmvUHQdkEEMKzAl3HKzJOxs6XnuvEALaej8=" providerId="None" clId="Web-{5DB8D2E8-B4DD-4999-B03E-D10D7AEC7780}" dt="2022-03-11T20:07:04.865" v="3" actId="1076"/>
          <ac:spMkLst>
            <pc:docMk/>
            <pc:sldMk cId="1501710035" sldId="257"/>
            <ac:spMk id="209" creationId="{231A1C19-1905-4CA9-9C87-3C1F35D48A04}"/>
          </ac:spMkLst>
        </pc:spChg>
        <pc:spChg chg="del">
          <ac:chgData name="Swati Srivastava" userId="sg+8E020WmvUHQdkEEMKzAl3HKzJOxs6XnuvEALaej8=" providerId="None" clId="Web-{5DB8D2E8-B4DD-4999-B03E-D10D7AEC7780}" dt="2022-03-11T20:06:51.865" v="0"/>
          <ac:spMkLst>
            <pc:docMk/>
            <pc:sldMk cId="1501710035" sldId="257"/>
            <ac:spMk id="236" creationId="{467D11BF-A357-4467-BC3E-FCCC09E1A05F}"/>
          </ac:spMkLst>
        </pc:spChg>
        <pc:picChg chg="mod">
          <ac:chgData name="Swati Srivastava" userId="sg+8E020WmvUHQdkEEMKzAl3HKzJOxs6XnuvEALaej8=" providerId="None" clId="Web-{5DB8D2E8-B4DD-4999-B03E-D10D7AEC7780}" dt="2022-03-11T20:07:01.584" v="2" actId="1076"/>
          <ac:picMkLst>
            <pc:docMk/>
            <pc:sldMk cId="1501710035" sldId="257"/>
            <ac:picMk id="11" creationId="{ABD0B770-DC5B-4878-AC36-45ECBDC20431}"/>
          </ac:picMkLst>
        </pc:picChg>
        <pc:cxnChg chg="mod">
          <ac:chgData name="Swati Srivastava" userId="sg+8E020WmvUHQdkEEMKzAl3HKzJOxs6XnuvEALaej8=" providerId="None" clId="Web-{5DB8D2E8-B4DD-4999-B03E-D10D7AEC7780}" dt="2022-03-11T20:09:08.475" v="10" actId="1076"/>
          <ac:cxnSpMkLst>
            <pc:docMk/>
            <pc:sldMk cId="1501710035" sldId="257"/>
            <ac:cxnSpMk id="87" creationId="{2343C7AC-18A1-4005-A688-92466D6D9E48}"/>
          </ac:cxnSpMkLst>
        </pc:cxnChg>
        <pc:cxnChg chg="del">
          <ac:chgData name="Swati Srivastava" userId="sg+8E020WmvUHQdkEEMKzAl3HKzJOxs6XnuvEALaej8=" providerId="None" clId="Web-{5DB8D2E8-B4DD-4999-B03E-D10D7AEC7780}" dt="2022-03-11T20:06:53.896" v="1"/>
          <ac:cxnSpMkLst>
            <pc:docMk/>
            <pc:sldMk cId="1501710035" sldId="257"/>
            <ac:cxnSpMk id="211" creationId="{14B0DFDF-9507-4197-A051-F4C0FD6D4604}"/>
          </ac:cxnSpMkLst>
        </pc:cxnChg>
      </pc:sldChg>
    </pc:docChg>
  </pc:docChgLst>
  <pc:docChgLst>
    <pc:chgData name="Ashutosh Porwal" userId="1rMWRkTynkRouOh16qG7FW4p+ZJPOZZz/yvwY0zODJc=" providerId="None" clId="Web-{A3C862AA-10E6-439F-8B27-25D589D6BF11}"/>
    <pc:docChg chg="modSld">
      <pc:chgData name="Ashutosh Porwal" userId="1rMWRkTynkRouOh16qG7FW4p+ZJPOZZz/yvwY0zODJc=" providerId="None" clId="Web-{A3C862AA-10E6-439F-8B27-25D589D6BF11}" dt="2022-03-29T20:39:08.073" v="49" actId="1076"/>
      <pc:docMkLst>
        <pc:docMk/>
      </pc:docMkLst>
      <pc:sldChg chg="modSp">
        <pc:chgData name="Ashutosh Porwal" userId="1rMWRkTynkRouOh16qG7FW4p+ZJPOZZz/yvwY0zODJc=" providerId="None" clId="Web-{A3C862AA-10E6-439F-8B27-25D589D6BF11}" dt="2022-03-29T20:39:08.073" v="49" actId="1076"/>
        <pc:sldMkLst>
          <pc:docMk/>
          <pc:sldMk cId="1501710035" sldId="257"/>
        </pc:sldMkLst>
        <pc:spChg chg="mod">
          <ac:chgData name="Ashutosh Porwal" userId="1rMWRkTynkRouOh16qG7FW4p+ZJPOZZz/yvwY0zODJc=" providerId="None" clId="Web-{A3C862AA-10E6-439F-8B27-25D589D6BF11}" dt="2022-03-29T20:17:08.865" v="19" actId="1076"/>
          <ac:spMkLst>
            <pc:docMk/>
            <pc:sldMk cId="1501710035" sldId="257"/>
            <ac:spMk id="12" creationId="{E7C49F5A-4518-4C56-8A32-89B3D0E1D515}"/>
          </ac:spMkLst>
        </pc:spChg>
        <pc:spChg chg="mod">
          <ac:chgData name="Ashutosh Porwal" userId="1rMWRkTynkRouOh16qG7FW4p+ZJPOZZz/yvwY0zODJc=" providerId="None" clId="Web-{A3C862AA-10E6-439F-8B27-25D589D6BF11}" dt="2022-03-29T20:39:08.073" v="49" actId="1076"/>
          <ac:spMkLst>
            <pc:docMk/>
            <pc:sldMk cId="1501710035" sldId="257"/>
            <ac:spMk id="19" creationId="{5438C375-39A2-42F9-AB7D-3508FED1BF7E}"/>
          </ac:spMkLst>
        </pc:spChg>
        <pc:spChg chg="mod">
          <ac:chgData name="Ashutosh Porwal" userId="1rMWRkTynkRouOh16qG7FW4p+ZJPOZZz/yvwY0zODJc=" providerId="None" clId="Web-{A3C862AA-10E6-439F-8B27-25D589D6BF11}" dt="2022-03-29T20:17:06.990" v="16" actId="1076"/>
          <ac:spMkLst>
            <pc:docMk/>
            <pc:sldMk cId="1501710035" sldId="257"/>
            <ac:spMk id="34" creationId="{1E691D5B-DEA8-4C56-96F7-361BD5DF17DE}"/>
          </ac:spMkLst>
        </pc:spChg>
        <pc:spChg chg="mod">
          <ac:chgData name="Ashutosh Porwal" userId="1rMWRkTynkRouOh16qG7FW4p+ZJPOZZz/yvwY0zODJc=" providerId="None" clId="Web-{A3C862AA-10E6-439F-8B27-25D589D6BF11}" dt="2022-03-29T20:17:07.599" v="17" actId="1076"/>
          <ac:spMkLst>
            <pc:docMk/>
            <pc:sldMk cId="1501710035" sldId="257"/>
            <ac:spMk id="36" creationId="{E9989D70-EF79-47D4-BB0B-547709F3D730}"/>
          </ac:spMkLst>
        </pc:spChg>
        <pc:spChg chg="mod">
          <ac:chgData name="Ashutosh Porwal" userId="1rMWRkTynkRouOh16qG7FW4p+ZJPOZZz/yvwY0zODJc=" providerId="None" clId="Web-{A3C862AA-10E6-439F-8B27-25D589D6BF11}" dt="2022-03-29T20:38:13.761" v="32" actId="1076"/>
          <ac:spMkLst>
            <pc:docMk/>
            <pc:sldMk cId="1501710035" sldId="257"/>
            <ac:spMk id="90" creationId="{C34FB5E3-C76A-4466-A368-557276DF27F2}"/>
          </ac:spMkLst>
        </pc:spChg>
        <pc:spChg chg="mod">
          <ac:chgData name="Ashutosh Porwal" userId="1rMWRkTynkRouOh16qG7FW4p+ZJPOZZz/yvwY0zODJc=" providerId="None" clId="Web-{A3C862AA-10E6-439F-8B27-25D589D6BF11}" dt="2022-03-29T20:17:09.458" v="20" actId="1076"/>
          <ac:spMkLst>
            <pc:docMk/>
            <pc:sldMk cId="1501710035" sldId="257"/>
            <ac:spMk id="104" creationId="{2BCA9E67-8E04-44DC-A24B-E8557BE6C17E}"/>
          </ac:spMkLst>
        </pc:spChg>
        <pc:spChg chg="mod">
          <ac:chgData name="Ashutosh Porwal" userId="1rMWRkTynkRouOh16qG7FW4p+ZJPOZZz/yvwY0zODJc=" providerId="None" clId="Web-{A3C862AA-10E6-439F-8B27-25D589D6BF11}" dt="2022-03-29T20:38:38.683" v="39" actId="1076"/>
          <ac:spMkLst>
            <pc:docMk/>
            <pc:sldMk cId="1501710035" sldId="257"/>
            <ac:spMk id="201" creationId="{F2DD2CFB-B1F6-401D-B0ED-2A31E4481691}"/>
          </ac:spMkLst>
        </pc:spChg>
        <pc:spChg chg="mod">
          <ac:chgData name="Ashutosh Porwal" userId="1rMWRkTynkRouOh16qG7FW4p+ZJPOZZz/yvwY0zODJc=" providerId="None" clId="Web-{A3C862AA-10E6-439F-8B27-25D589D6BF11}" dt="2022-03-29T20:38:40.214" v="40" actId="1076"/>
          <ac:spMkLst>
            <pc:docMk/>
            <pc:sldMk cId="1501710035" sldId="257"/>
            <ac:spMk id="204" creationId="{981B139B-84BD-429E-A87A-4774B38773D2}"/>
          </ac:spMkLst>
        </pc:spChg>
        <pc:spChg chg="mod">
          <ac:chgData name="Ashutosh Porwal" userId="1rMWRkTynkRouOh16qG7FW4p+ZJPOZZz/yvwY0zODJc=" providerId="None" clId="Web-{A3C862AA-10E6-439F-8B27-25D589D6BF11}" dt="2022-03-29T20:17:15.021" v="23" actId="1076"/>
          <ac:spMkLst>
            <pc:docMk/>
            <pc:sldMk cId="1501710035" sldId="257"/>
            <ac:spMk id="2154" creationId="{00000000-0000-0000-0000-000000000000}"/>
          </ac:spMkLst>
        </pc:spChg>
        <pc:picChg chg="mod">
          <ac:chgData name="Ashutosh Porwal" userId="1rMWRkTynkRouOh16qG7FW4p+ZJPOZZz/yvwY0zODJc=" providerId="None" clId="Web-{A3C862AA-10E6-439F-8B27-25D589D6BF11}" dt="2022-03-29T20:35:11.885" v="31"/>
          <ac:picMkLst>
            <pc:docMk/>
            <pc:sldMk cId="1501710035" sldId="257"/>
            <ac:picMk id="11" creationId="{37F1625F-9714-0171-4EEB-53CAF3B85480}"/>
          </ac:picMkLst>
        </pc:picChg>
        <pc:picChg chg="mod">
          <ac:chgData name="Ashutosh Porwal" userId="1rMWRkTynkRouOh16qG7FW4p+ZJPOZZz/yvwY0zODJc=" providerId="None" clId="Web-{A3C862AA-10E6-439F-8B27-25D589D6BF11}" dt="2022-03-29T20:39:04.339" v="47" actId="1076"/>
          <ac:picMkLst>
            <pc:docMk/>
            <pc:sldMk cId="1501710035" sldId="257"/>
            <ac:picMk id="13" creationId="{1F8C8E7A-B182-CC48-1A68-2AEFA63C6DA9}"/>
          </ac:picMkLst>
        </pc:picChg>
        <pc:picChg chg="mod">
          <ac:chgData name="Ashutosh Porwal" userId="1rMWRkTynkRouOh16qG7FW4p+ZJPOZZz/yvwY0zODJc=" providerId="None" clId="Web-{A3C862AA-10E6-439F-8B27-25D589D6BF11}" dt="2022-03-29T20:39:04.948" v="48" actId="1076"/>
          <ac:picMkLst>
            <pc:docMk/>
            <pc:sldMk cId="1501710035" sldId="257"/>
            <ac:picMk id="17" creationId="{D93400DD-0F33-7A06-7C9C-F48FC5F55410}"/>
          </ac:picMkLst>
        </pc:picChg>
        <pc:picChg chg="mod">
          <ac:chgData name="Ashutosh Porwal" userId="1rMWRkTynkRouOh16qG7FW4p+ZJPOZZz/yvwY0zODJc=" providerId="None" clId="Web-{A3C862AA-10E6-439F-8B27-25D589D6BF11}" dt="2022-03-29T20:17:10.271" v="21" actId="1076"/>
          <ac:picMkLst>
            <pc:docMk/>
            <pc:sldMk cId="1501710035" sldId="257"/>
            <ac:picMk id="22" creationId="{A6D167DA-64B2-46E6-9F58-C90F7B687F6F}"/>
          </ac:picMkLst>
        </pc:picChg>
        <pc:picChg chg="mod">
          <ac:chgData name="Ashutosh Porwal" userId="1rMWRkTynkRouOh16qG7FW4p+ZJPOZZz/yvwY0zODJc=" providerId="None" clId="Web-{A3C862AA-10E6-439F-8B27-25D589D6BF11}" dt="2022-03-29T20:38:52.714" v="42" actId="1076"/>
          <ac:picMkLst>
            <pc:docMk/>
            <pc:sldMk cId="1501710035" sldId="257"/>
            <ac:picMk id="97" creationId="{5A9E5080-197C-429C-B5A8-1B5FDF4BA55F}"/>
          </ac:picMkLst>
        </pc:picChg>
        <pc:picChg chg="mod">
          <ac:chgData name="Ashutosh Porwal" userId="1rMWRkTynkRouOh16qG7FW4p+ZJPOZZz/yvwY0zODJc=" providerId="None" clId="Web-{A3C862AA-10E6-439F-8B27-25D589D6BF11}" dt="2022-03-29T20:38:53.308" v="43" actId="1076"/>
          <ac:picMkLst>
            <pc:docMk/>
            <pc:sldMk cId="1501710035" sldId="257"/>
            <ac:picMk id="98" creationId="{F365FD75-8B31-4238-93A6-4018BB0DFED1}"/>
          </ac:picMkLst>
        </pc:picChg>
        <pc:cxnChg chg="mod">
          <ac:chgData name="Ashutosh Porwal" userId="1rMWRkTynkRouOh16qG7FW4p+ZJPOZZz/yvwY0zODJc=" providerId="None" clId="Web-{A3C862AA-10E6-439F-8B27-25D589D6BF11}" dt="2022-03-29T20:17:08.208" v="18" actId="1076"/>
          <ac:cxnSpMkLst>
            <pc:docMk/>
            <pc:sldMk cId="1501710035" sldId="257"/>
            <ac:cxnSpMk id="38" creationId="{4EF49B87-0CD0-4F15-9D69-6AD7C5E2D872}"/>
          </ac:cxnSpMkLst>
        </pc:cxnChg>
        <pc:cxnChg chg="mod">
          <ac:chgData name="Ashutosh Porwal" userId="1rMWRkTynkRouOh16qG7FW4p+ZJPOZZz/yvwY0zODJc=" providerId="None" clId="Web-{A3C862AA-10E6-439F-8B27-25D589D6BF11}" dt="2022-03-29T20:38:40.855" v="41" actId="1076"/>
          <ac:cxnSpMkLst>
            <pc:docMk/>
            <pc:sldMk cId="1501710035" sldId="257"/>
            <ac:cxnSpMk id="205" creationId="{59DC9773-E706-4942-A186-2BA06992AE3A}"/>
          </ac:cxnSpMkLst>
        </pc:cxnChg>
      </pc:sldChg>
    </pc:docChg>
  </pc:docChgLst>
  <pc:docChgLst>
    <pc:chgData name="Yu-Lin Tai" userId="qxBCN0BVxyTI6XZ8yOgnvlc88beCnpFuFd6D99Fo7n0=" providerId="None" clId="Web-{0155620E-2D8D-40B9-8DEA-04BA163FAA5E}"/>
    <pc:docChg chg="modSld">
      <pc:chgData name="Yu-Lin Tai" userId="qxBCN0BVxyTI6XZ8yOgnvlc88beCnpFuFd6D99Fo7n0=" providerId="None" clId="Web-{0155620E-2D8D-40B9-8DEA-04BA163FAA5E}" dt="2022-03-02T22:47:37.222" v="1" actId="14100"/>
      <pc:docMkLst>
        <pc:docMk/>
      </pc:docMkLst>
      <pc:sldChg chg="delSp modSp">
        <pc:chgData name="Yu-Lin Tai" userId="qxBCN0BVxyTI6XZ8yOgnvlc88beCnpFuFd6D99Fo7n0=" providerId="None" clId="Web-{0155620E-2D8D-40B9-8DEA-04BA163FAA5E}" dt="2022-03-02T22:47:37.222" v="1" actId="14100"/>
        <pc:sldMkLst>
          <pc:docMk/>
          <pc:sldMk cId="1501710035" sldId="257"/>
        </pc:sldMkLst>
        <pc:picChg chg="mod">
          <ac:chgData name="Yu-Lin Tai" userId="qxBCN0BVxyTI6XZ8yOgnvlc88beCnpFuFd6D99Fo7n0=" providerId="None" clId="Web-{0155620E-2D8D-40B9-8DEA-04BA163FAA5E}" dt="2022-03-02T22:47:37.222" v="1" actId="14100"/>
          <ac:picMkLst>
            <pc:docMk/>
            <pc:sldMk cId="1501710035" sldId="257"/>
            <ac:picMk id="4" creationId="{BAD4DCDB-38FF-4A3C-8D35-0C36B00B9ABF}"/>
          </ac:picMkLst>
        </pc:picChg>
        <pc:picChg chg="del">
          <ac:chgData name="Yu-Lin Tai" userId="qxBCN0BVxyTI6XZ8yOgnvlc88beCnpFuFd6D99Fo7n0=" providerId="None" clId="Web-{0155620E-2D8D-40B9-8DEA-04BA163FAA5E}" dt="2022-03-02T22:47:35.315" v="0"/>
          <ac:picMkLst>
            <pc:docMk/>
            <pc:sldMk cId="1501710035" sldId="257"/>
            <ac:picMk id="21" creationId="{D41E8FFF-E3F0-4DC9-BCA3-C8072E6CEEAB}"/>
          </ac:picMkLst>
        </pc:picChg>
      </pc:sldChg>
    </pc:docChg>
  </pc:docChgLst>
  <pc:docChgLst>
    <pc:chgData name="Swati Srivastava" clId="Web-{A88119A4-66A1-4D59-BDE3-46A7AA0417EA}"/>
    <pc:docChg chg="modSld">
      <pc:chgData name="Swati Srivastava" userId="" providerId="" clId="Web-{A88119A4-66A1-4D59-BDE3-46A7AA0417EA}" dt="2022-03-10T00:33:02.934" v="32" actId="14100"/>
      <pc:docMkLst>
        <pc:docMk/>
      </pc:docMkLst>
      <pc:sldChg chg="modSp">
        <pc:chgData name="Swati Srivastava" userId="" providerId="" clId="Web-{A88119A4-66A1-4D59-BDE3-46A7AA0417EA}" dt="2022-03-10T00:33:02.934" v="32" actId="14100"/>
        <pc:sldMkLst>
          <pc:docMk/>
          <pc:sldMk cId="1501710035" sldId="257"/>
        </pc:sldMkLst>
        <pc:spChg chg="mod">
          <ac:chgData name="Swati Srivastava" userId="" providerId="" clId="Web-{A88119A4-66A1-4D59-BDE3-46A7AA0417EA}" dt="2022-03-10T00:33:02.934" v="32" actId="14100"/>
          <ac:spMkLst>
            <pc:docMk/>
            <pc:sldMk cId="1501710035" sldId="257"/>
            <ac:spMk id="10" creationId="{63492AC6-4137-416C-80D7-23A7961A3E88}"/>
          </ac:spMkLst>
        </pc:spChg>
        <pc:spChg chg="mod">
          <ac:chgData name="Swati Srivastava" userId="" providerId="" clId="Web-{A88119A4-66A1-4D59-BDE3-46A7AA0417EA}" dt="2022-03-10T00:31:43.732" v="24" actId="1076"/>
          <ac:spMkLst>
            <pc:docMk/>
            <pc:sldMk cId="1501710035" sldId="257"/>
            <ac:spMk id="63" creationId="{97CA9C7E-75CF-4B4F-B23D-B9E6F06A8820}"/>
          </ac:spMkLst>
        </pc:spChg>
        <pc:spChg chg="mod">
          <ac:chgData name="Swati Srivastava" userId="" providerId="" clId="Web-{A88119A4-66A1-4D59-BDE3-46A7AA0417EA}" dt="2022-03-10T00:31:44.279" v="25" actId="1076"/>
          <ac:spMkLst>
            <pc:docMk/>
            <pc:sldMk cId="1501710035" sldId="257"/>
            <ac:spMk id="64" creationId="{B4C592E6-539E-40D8-AD36-19E6A3EF344A}"/>
          </ac:spMkLst>
        </pc:spChg>
        <pc:spChg chg="mod">
          <ac:chgData name="Swati Srivastava" userId="" providerId="" clId="Web-{A88119A4-66A1-4D59-BDE3-46A7AA0417EA}" dt="2022-03-10T00:32:08.513" v="29" actId="1076"/>
          <ac:spMkLst>
            <pc:docMk/>
            <pc:sldMk cId="1501710035" sldId="257"/>
            <ac:spMk id="105" creationId="{09694568-FBFD-4B0E-96E5-CBF182AEC315}"/>
          </ac:spMkLst>
        </pc:spChg>
        <pc:spChg chg="mod">
          <ac:chgData name="Swati Srivastava" userId="" providerId="" clId="Web-{A88119A4-66A1-4D59-BDE3-46A7AA0417EA}" dt="2022-03-10T00:32:19.341" v="30" actId="1076"/>
          <ac:spMkLst>
            <pc:docMk/>
            <pc:sldMk cId="1501710035" sldId="257"/>
            <ac:spMk id="209" creationId="{231A1C19-1905-4CA9-9C87-3C1F35D48A04}"/>
          </ac:spMkLst>
        </pc:spChg>
        <pc:picChg chg="mod">
          <ac:chgData name="Swati Srivastava" userId="" providerId="" clId="Web-{A88119A4-66A1-4D59-BDE3-46A7AA0417EA}" dt="2022-03-10T00:32:46.762" v="31" actId="1076"/>
          <ac:picMkLst>
            <pc:docMk/>
            <pc:sldMk cId="1501710035" sldId="257"/>
            <ac:picMk id="11" creationId="{ABD0B770-DC5B-4878-AC36-45ECBDC20431}"/>
          </ac:picMkLst>
        </pc:picChg>
        <pc:cxnChg chg="mod">
          <ac:chgData name="Swati Srivastava" userId="" providerId="" clId="Web-{A88119A4-66A1-4D59-BDE3-46A7AA0417EA}" dt="2022-03-10T00:31:47.716" v="26" actId="1076"/>
          <ac:cxnSpMkLst>
            <pc:docMk/>
            <pc:sldMk cId="1501710035" sldId="257"/>
            <ac:cxnSpMk id="102" creationId="{63B6A559-618D-41E3-A62C-904B9A4CC215}"/>
          </ac:cxnSpMkLst>
        </pc:cxnChg>
      </pc:sldChg>
    </pc:docChg>
  </pc:docChgLst>
  <pc:docChgLst>
    <pc:chgData name="Swati Srivastava" userId="9ccc12831e9c62ed" providerId="LiveId" clId="{3B714666-AE5F-4B65-BBD0-2E3C94F9FB41}"/>
    <pc:docChg chg="modSld">
      <pc:chgData name="Swati Srivastava" userId="9ccc12831e9c62ed" providerId="LiveId" clId="{3B714666-AE5F-4B65-BBD0-2E3C94F9FB41}" dt="2022-03-11T22:42:31.061" v="59" actId="20577"/>
      <pc:docMkLst>
        <pc:docMk/>
      </pc:docMkLst>
      <pc:sldChg chg="modSp mod">
        <pc:chgData name="Swati Srivastava" userId="9ccc12831e9c62ed" providerId="LiveId" clId="{3B714666-AE5F-4B65-BBD0-2E3C94F9FB41}" dt="2022-03-11T22:42:31.061" v="59" actId="20577"/>
        <pc:sldMkLst>
          <pc:docMk/>
          <pc:sldMk cId="1501710035" sldId="257"/>
        </pc:sldMkLst>
        <pc:spChg chg="mod">
          <ac:chgData name="Swati Srivastava" userId="9ccc12831e9c62ed" providerId="LiveId" clId="{3B714666-AE5F-4B65-BBD0-2E3C94F9FB41}" dt="2022-03-11T22:42:31.061" v="59" actId="20577"/>
          <ac:spMkLst>
            <pc:docMk/>
            <pc:sldMk cId="1501710035" sldId="257"/>
            <ac:spMk id="10" creationId="{63492AC6-4137-416C-80D7-23A7961A3E88}"/>
          </ac:spMkLst>
        </pc:spChg>
        <pc:spChg chg="mod">
          <ac:chgData name="Swati Srivastava" userId="9ccc12831e9c62ed" providerId="LiveId" clId="{3B714666-AE5F-4B65-BBD0-2E3C94F9FB41}" dt="2022-03-11T22:42:06.024" v="54" actId="6549"/>
          <ac:spMkLst>
            <pc:docMk/>
            <pc:sldMk cId="1501710035" sldId="257"/>
            <ac:spMk id="105" creationId="{09694568-FBFD-4B0E-96E5-CBF182AEC315}"/>
          </ac:spMkLst>
        </pc:spChg>
        <pc:spChg chg="mod">
          <ac:chgData name="Swati Srivastava" userId="9ccc12831e9c62ed" providerId="LiveId" clId="{3B714666-AE5F-4B65-BBD0-2E3C94F9FB41}" dt="2022-03-11T22:41:36.197" v="44" actId="20577"/>
          <ac:spMkLst>
            <pc:docMk/>
            <pc:sldMk cId="1501710035" sldId="257"/>
            <ac:spMk id="2154" creationId="{00000000-0000-0000-0000-000000000000}"/>
          </ac:spMkLst>
        </pc:spChg>
      </pc:sldChg>
    </pc:docChg>
  </pc:docChgLst>
  <pc:docChgLst>
    <pc:chgData name="Ashutosh Porwal" userId="1rMWRkTynkRouOh16qG7FW4p+ZJPOZZz/yvwY0zODJc=" providerId="None" clId="Web-{330DCD49-CE01-437E-94EB-69FE13D71578}"/>
    <pc:docChg chg="modSld">
      <pc:chgData name="Ashutosh Porwal" userId="1rMWRkTynkRouOh16qG7FW4p+ZJPOZZz/yvwY0zODJc=" providerId="None" clId="Web-{330DCD49-CE01-437E-94EB-69FE13D71578}" dt="2022-03-04T20:56:19.792" v="56" actId="1076"/>
      <pc:docMkLst>
        <pc:docMk/>
      </pc:docMkLst>
      <pc:sldChg chg="modSp">
        <pc:chgData name="Ashutosh Porwal" userId="1rMWRkTynkRouOh16qG7FW4p+ZJPOZZz/yvwY0zODJc=" providerId="None" clId="Web-{330DCD49-CE01-437E-94EB-69FE13D71578}" dt="2022-03-04T20:56:19.792" v="56" actId="1076"/>
        <pc:sldMkLst>
          <pc:docMk/>
          <pc:sldMk cId="1501710035" sldId="257"/>
        </pc:sldMkLst>
        <pc:spChg chg="mod">
          <ac:chgData name="Ashutosh Porwal" userId="1rMWRkTynkRouOh16qG7FW4p+ZJPOZZz/yvwY0zODJc=" providerId="None" clId="Web-{330DCD49-CE01-437E-94EB-69FE13D71578}" dt="2022-03-04T20:23:17.249" v="5" actId="20577"/>
          <ac:spMkLst>
            <pc:docMk/>
            <pc:sldMk cId="1501710035" sldId="257"/>
            <ac:spMk id="5" creationId="{097144E4-DACB-4626-A9DF-3A010B6A1502}"/>
          </ac:spMkLst>
        </pc:spChg>
        <pc:spChg chg="mod">
          <ac:chgData name="Ashutosh Porwal" userId="1rMWRkTynkRouOh16qG7FW4p+ZJPOZZz/yvwY0zODJc=" providerId="None" clId="Web-{330DCD49-CE01-437E-94EB-69FE13D71578}" dt="2022-03-04T20:37:53.006" v="32" actId="1076"/>
          <ac:spMkLst>
            <pc:docMk/>
            <pc:sldMk cId="1501710035" sldId="257"/>
            <ac:spMk id="12" creationId="{E7C49F5A-4518-4C56-8A32-89B3D0E1D515}"/>
          </ac:spMkLst>
        </pc:spChg>
        <pc:spChg chg="mod">
          <ac:chgData name="Ashutosh Porwal" userId="1rMWRkTynkRouOh16qG7FW4p+ZJPOZZz/yvwY0zODJc=" providerId="None" clId="Web-{330DCD49-CE01-437E-94EB-69FE13D71578}" dt="2022-03-04T20:42:49.003" v="48" actId="1076"/>
          <ac:spMkLst>
            <pc:docMk/>
            <pc:sldMk cId="1501710035" sldId="257"/>
            <ac:spMk id="19" creationId="{5438C375-39A2-42F9-AB7D-3508FED1BF7E}"/>
          </ac:spMkLst>
        </pc:spChg>
        <pc:spChg chg="mod">
          <ac:chgData name="Ashutosh Porwal" userId="1rMWRkTynkRouOh16qG7FW4p+ZJPOZZz/yvwY0zODJc=" providerId="None" clId="Web-{330DCD49-CE01-437E-94EB-69FE13D71578}" dt="2022-03-04T20:23:25.186" v="7" actId="20577"/>
          <ac:spMkLst>
            <pc:docMk/>
            <pc:sldMk cId="1501710035" sldId="257"/>
            <ac:spMk id="34" creationId="{1E691D5B-DEA8-4C56-96F7-361BD5DF17DE}"/>
          </ac:spMkLst>
        </pc:spChg>
        <pc:spChg chg="mod">
          <ac:chgData name="Ashutosh Porwal" userId="1rMWRkTynkRouOh16qG7FW4p+ZJPOZZz/yvwY0zODJc=" providerId="None" clId="Web-{330DCD49-CE01-437E-94EB-69FE13D71578}" dt="2022-03-04T20:23:53.764" v="10" actId="20577"/>
          <ac:spMkLst>
            <pc:docMk/>
            <pc:sldMk cId="1501710035" sldId="257"/>
            <ac:spMk id="39" creationId="{5B411F13-1648-40BE-94CD-0A5AA4C4324D}"/>
          </ac:spMkLst>
        </pc:spChg>
        <pc:spChg chg="mod">
          <ac:chgData name="Ashutosh Porwal" userId="1rMWRkTynkRouOh16qG7FW4p+ZJPOZZz/yvwY0zODJc=" providerId="None" clId="Web-{330DCD49-CE01-437E-94EB-69FE13D71578}" dt="2022-03-04T20:24:12.373" v="12" actId="20577"/>
          <ac:spMkLst>
            <pc:docMk/>
            <pc:sldMk cId="1501710035" sldId="257"/>
            <ac:spMk id="55" creationId="{0BDFD781-FA2F-4C95-A898-2E83C4466408}"/>
          </ac:spMkLst>
        </pc:spChg>
        <pc:spChg chg="mod">
          <ac:chgData name="Ashutosh Porwal" userId="1rMWRkTynkRouOh16qG7FW4p+ZJPOZZz/yvwY0zODJc=" providerId="None" clId="Web-{330DCD49-CE01-437E-94EB-69FE13D71578}" dt="2022-03-04T20:27:10.669" v="21" actId="20577"/>
          <ac:spMkLst>
            <pc:docMk/>
            <pc:sldMk cId="1501710035" sldId="257"/>
            <ac:spMk id="60" creationId="{8151A4DD-81A4-4FA9-AC9C-C91365C073D5}"/>
          </ac:spMkLst>
        </pc:spChg>
        <pc:spChg chg="mod">
          <ac:chgData name="Ashutosh Porwal" userId="1rMWRkTynkRouOh16qG7FW4p+ZJPOZZz/yvwY0zODJc=" providerId="None" clId="Web-{330DCD49-CE01-437E-94EB-69FE13D71578}" dt="2022-03-04T20:27:20.200" v="23" actId="20577"/>
          <ac:spMkLst>
            <pc:docMk/>
            <pc:sldMk cId="1501710035" sldId="257"/>
            <ac:spMk id="63" creationId="{97CA9C7E-75CF-4B4F-B23D-B9E6F06A8820}"/>
          </ac:spMkLst>
        </pc:spChg>
        <pc:spChg chg="mod">
          <ac:chgData name="Ashutosh Porwal" userId="1rMWRkTynkRouOh16qG7FW4p+ZJPOZZz/yvwY0zODJc=" providerId="None" clId="Web-{330DCD49-CE01-437E-94EB-69FE13D71578}" dt="2022-03-04T20:28:15.777" v="27" actId="20577"/>
          <ac:spMkLst>
            <pc:docMk/>
            <pc:sldMk cId="1501710035" sldId="257"/>
            <ac:spMk id="83" creationId="{9B25FB0D-B9A9-419F-8972-0D336D67093E}"/>
          </ac:spMkLst>
        </pc:spChg>
        <pc:spChg chg="mod">
          <ac:chgData name="Ashutosh Porwal" userId="1rMWRkTynkRouOh16qG7FW4p+ZJPOZZz/yvwY0zODJc=" providerId="None" clId="Web-{330DCD49-CE01-437E-94EB-69FE13D71578}" dt="2022-03-04T20:42:36.534" v="47" actId="1076"/>
          <ac:spMkLst>
            <pc:docMk/>
            <pc:sldMk cId="1501710035" sldId="257"/>
            <ac:spMk id="90" creationId="{C34FB5E3-C76A-4466-A368-557276DF27F2}"/>
          </ac:spMkLst>
        </pc:spChg>
        <pc:spChg chg="mod">
          <ac:chgData name="Ashutosh Porwal" userId="1rMWRkTynkRouOh16qG7FW4p+ZJPOZZz/yvwY0zODJc=" providerId="None" clId="Web-{330DCD49-CE01-437E-94EB-69FE13D71578}" dt="2022-03-04T20:56:18.464" v="54" actId="1076"/>
          <ac:spMkLst>
            <pc:docMk/>
            <pc:sldMk cId="1501710035" sldId="257"/>
            <ac:spMk id="101" creationId="{5C1E25A0-E2DC-4E8C-B8FD-0D8930A3BCBD}"/>
          </ac:spMkLst>
        </pc:spChg>
        <pc:spChg chg="mod">
          <ac:chgData name="Ashutosh Porwal" userId="1rMWRkTynkRouOh16qG7FW4p+ZJPOZZz/yvwY0zODJc=" providerId="None" clId="Web-{330DCD49-CE01-437E-94EB-69FE13D71578}" dt="2022-03-04T20:27:53.371" v="25" actId="1076"/>
          <ac:spMkLst>
            <pc:docMk/>
            <pc:sldMk cId="1501710035" sldId="257"/>
            <ac:spMk id="103" creationId="{2F76351F-9D02-45DE-B6F2-FE328717BBD9}"/>
          </ac:spMkLst>
        </pc:spChg>
        <pc:spChg chg="mod">
          <ac:chgData name="Ashutosh Porwal" userId="1rMWRkTynkRouOh16qG7FW4p+ZJPOZZz/yvwY0zODJc=" providerId="None" clId="Web-{330DCD49-CE01-437E-94EB-69FE13D71578}" dt="2022-03-04T20:37:45.975" v="30" actId="1076"/>
          <ac:spMkLst>
            <pc:docMk/>
            <pc:sldMk cId="1501710035" sldId="257"/>
            <ac:spMk id="104" creationId="{2BCA9E67-8E04-44DC-A24B-E8557BE6C17E}"/>
          </ac:spMkLst>
        </pc:spChg>
        <pc:spChg chg="mod">
          <ac:chgData name="Ashutosh Porwal" userId="1rMWRkTynkRouOh16qG7FW4p+ZJPOZZz/yvwY0zODJc=" providerId="None" clId="Web-{330DCD49-CE01-437E-94EB-69FE13D71578}" dt="2022-03-04T20:28:25.277" v="28" actId="1076"/>
          <ac:spMkLst>
            <pc:docMk/>
            <pc:sldMk cId="1501710035" sldId="257"/>
            <ac:spMk id="105" creationId="{09694568-FBFD-4B0E-96E5-CBF182AEC315}"/>
          </ac:spMkLst>
        </pc:spChg>
        <pc:spChg chg="mod">
          <ac:chgData name="Ashutosh Porwal" userId="1rMWRkTynkRouOh16qG7FW4p+ZJPOZZz/yvwY0zODJc=" providerId="None" clId="Web-{330DCD49-CE01-437E-94EB-69FE13D71578}" dt="2022-03-04T20:24:17.795" v="14" actId="20577"/>
          <ac:spMkLst>
            <pc:docMk/>
            <pc:sldMk cId="1501710035" sldId="257"/>
            <ac:spMk id="201" creationId="{F2DD2CFB-B1F6-401D-B0ED-2A31E4481691}"/>
          </ac:spMkLst>
        </pc:spChg>
        <pc:picChg chg="mod">
          <ac:chgData name="Ashutosh Porwal" userId="1rMWRkTynkRouOh16qG7FW4p+ZJPOZZz/yvwY0zODJc=" providerId="None" clId="Web-{330DCD49-CE01-437E-94EB-69FE13D71578}" dt="2022-03-04T20:49:40.749" v="50" actId="14100"/>
          <ac:picMkLst>
            <pc:docMk/>
            <pc:sldMk cId="1501710035" sldId="257"/>
            <ac:picMk id="2" creationId="{8AF632A4-5AD6-4C2E-9A63-444D9E0AFEF5}"/>
          </ac:picMkLst>
        </pc:picChg>
        <pc:picChg chg="mod">
          <ac:chgData name="Ashutosh Porwal" userId="1rMWRkTynkRouOh16qG7FW4p+ZJPOZZz/yvwY0zODJc=" providerId="None" clId="Web-{330DCD49-CE01-437E-94EB-69FE13D71578}" dt="2022-03-04T20:42:31.409" v="46" actId="1076"/>
          <ac:picMkLst>
            <pc:docMk/>
            <pc:sldMk cId="1501710035" sldId="257"/>
            <ac:picMk id="4" creationId="{BAD4DCDB-38FF-4A3C-8D35-0C36B00B9ABF}"/>
          </ac:picMkLst>
        </pc:picChg>
        <pc:picChg chg="mod">
          <ac:chgData name="Ashutosh Porwal" userId="1rMWRkTynkRouOh16qG7FW4p+ZJPOZZz/yvwY0zODJc=" providerId="None" clId="Web-{330DCD49-CE01-437E-94EB-69FE13D71578}" dt="2022-03-04T20:37:44.350" v="29" actId="1076"/>
          <ac:picMkLst>
            <pc:docMk/>
            <pc:sldMk cId="1501710035" sldId="257"/>
            <ac:picMk id="22" creationId="{A6D167DA-64B2-46E6-9F58-C90F7B687F6F}"/>
          </ac:picMkLst>
        </pc:picChg>
        <pc:picChg chg="mod">
          <ac:chgData name="Ashutosh Porwal" userId="1rMWRkTynkRouOh16qG7FW4p+ZJPOZZz/yvwY0zODJc=" providerId="None" clId="Web-{330DCD49-CE01-437E-94EB-69FE13D71578}" dt="2022-03-04T20:40:51.707" v="42" actId="1076"/>
          <ac:picMkLst>
            <pc:docMk/>
            <pc:sldMk cId="1501710035" sldId="257"/>
            <ac:picMk id="97" creationId="{5A9E5080-197C-429C-B5A8-1B5FDF4BA55F}"/>
          </ac:picMkLst>
        </pc:picChg>
        <pc:picChg chg="mod">
          <ac:chgData name="Ashutosh Porwal" userId="1rMWRkTynkRouOh16qG7FW4p+ZJPOZZz/yvwY0zODJc=" providerId="None" clId="Web-{330DCD49-CE01-437E-94EB-69FE13D71578}" dt="2022-03-04T20:40:52.379" v="43" actId="1076"/>
          <ac:picMkLst>
            <pc:docMk/>
            <pc:sldMk cId="1501710035" sldId="257"/>
            <ac:picMk id="98" creationId="{F365FD75-8B31-4238-93A6-4018BB0DFED1}"/>
          </ac:picMkLst>
        </pc:picChg>
        <pc:picChg chg="mod">
          <ac:chgData name="Ashutosh Porwal" userId="1rMWRkTynkRouOh16qG7FW4p+ZJPOZZz/yvwY0zODJc=" providerId="None" clId="Web-{330DCD49-CE01-437E-94EB-69FE13D71578}" dt="2022-03-04T20:56:19.136" v="55" actId="1076"/>
          <ac:picMkLst>
            <pc:docMk/>
            <pc:sldMk cId="1501710035" sldId="257"/>
            <ac:picMk id="99" creationId="{28E9A511-9226-4A14-A828-D92797C483E6}"/>
          </ac:picMkLst>
        </pc:picChg>
        <pc:picChg chg="mod">
          <ac:chgData name="Ashutosh Porwal" userId="1rMWRkTynkRouOh16qG7FW4p+ZJPOZZz/yvwY0zODJc=" providerId="None" clId="Web-{330DCD49-CE01-437E-94EB-69FE13D71578}" dt="2022-03-04T20:56:19.792" v="56" actId="1076"/>
          <ac:picMkLst>
            <pc:docMk/>
            <pc:sldMk cId="1501710035" sldId="257"/>
            <ac:picMk id="100" creationId="{A528968B-7A35-4510-B2AD-088F97A6AA50}"/>
          </ac:picMkLst>
        </pc:picChg>
      </pc:sldChg>
    </pc:docChg>
  </pc:docChgLst>
  <pc:docChgLst>
    <pc:chgData name="Swati Srivastava" userId="sg+8E020WmvUHQdkEEMKzAl3HKzJOxs6XnuvEALaej8=" providerId="None" clId="Web-{22CB6174-8F95-4FE4-9C6A-B11C3663FC8A}"/>
    <pc:docChg chg="modSld">
      <pc:chgData name="Swati Srivastava" userId="sg+8E020WmvUHQdkEEMKzAl3HKzJOxs6XnuvEALaej8=" providerId="None" clId="Web-{22CB6174-8F95-4FE4-9C6A-B11C3663FC8A}" dt="2022-02-14T02:10:18.238" v="36" actId="14100"/>
      <pc:docMkLst>
        <pc:docMk/>
      </pc:docMkLst>
      <pc:sldChg chg="addSp delSp modSp">
        <pc:chgData name="Swati Srivastava" userId="sg+8E020WmvUHQdkEEMKzAl3HKzJOxs6XnuvEALaej8=" providerId="None" clId="Web-{22CB6174-8F95-4FE4-9C6A-B11C3663FC8A}" dt="2022-02-14T02:10:18.238" v="36" actId="14100"/>
        <pc:sldMkLst>
          <pc:docMk/>
          <pc:sldMk cId="1501710035" sldId="257"/>
        </pc:sldMkLst>
        <pc:spChg chg="mod">
          <ac:chgData name="Swati Srivastava" userId="sg+8E020WmvUHQdkEEMKzAl3HKzJOxs6XnuvEALaej8=" providerId="None" clId="Web-{22CB6174-8F95-4FE4-9C6A-B11C3663FC8A}" dt="2022-02-14T02:10:18.238" v="36" actId="14100"/>
          <ac:spMkLst>
            <pc:docMk/>
            <pc:sldMk cId="1501710035" sldId="257"/>
            <ac:spMk id="12" creationId="{E7C49F5A-4518-4C56-8A32-89B3D0E1D515}"/>
          </ac:spMkLst>
        </pc:spChg>
        <pc:spChg chg="del mod">
          <ac:chgData name="Swati Srivastava" userId="sg+8E020WmvUHQdkEEMKzAl3HKzJOxs6XnuvEALaej8=" providerId="None" clId="Web-{22CB6174-8F95-4FE4-9C6A-B11C3663FC8A}" dt="2022-02-14T02:07:08.456" v="16"/>
          <ac:spMkLst>
            <pc:docMk/>
            <pc:sldMk cId="1501710035" sldId="257"/>
            <ac:spMk id="26" creationId="{108BB51C-831A-4DCF-84FA-A04FECD426F8}"/>
          </ac:spMkLst>
        </pc:spChg>
        <pc:spChg chg="del">
          <ac:chgData name="Swati Srivastava" userId="sg+8E020WmvUHQdkEEMKzAl3HKzJOxs6XnuvEALaej8=" providerId="None" clId="Web-{22CB6174-8F95-4FE4-9C6A-B11C3663FC8A}" dt="2022-02-14T02:05:15.315" v="5"/>
          <ac:spMkLst>
            <pc:docMk/>
            <pc:sldMk cId="1501710035" sldId="257"/>
            <ac:spMk id="146" creationId="{64452675-FEDE-4CF6-A31E-14DA3EB1CBB4}"/>
          </ac:spMkLst>
        </pc:spChg>
        <pc:spChg chg="del">
          <ac:chgData name="Swati Srivastava" userId="sg+8E020WmvUHQdkEEMKzAl3HKzJOxs6XnuvEALaej8=" providerId="None" clId="Web-{22CB6174-8F95-4FE4-9C6A-B11C3663FC8A}" dt="2022-02-14T02:05:15.315" v="4"/>
          <ac:spMkLst>
            <pc:docMk/>
            <pc:sldMk cId="1501710035" sldId="257"/>
            <ac:spMk id="147" creationId="{0A01F225-B2CC-4A1E-8366-5F7A34962F7E}"/>
          </ac:spMkLst>
        </pc:spChg>
        <pc:spChg chg="del">
          <ac:chgData name="Swati Srivastava" userId="sg+8E020WmvUHQdkEEMKzAl3HKzJOxs6XnuvEALaej8=" providerId="None" clId="Web-{22CB6174-8F95-4FE4-9C6A-B11C3663FC8A}" dt="2022-02-14T02:05:15.315" v="3"/>
          <ac:spMkLst>
            <pc:docMk/>
            <pc:sldMk cId="1501710035" sldId="257"/>
            <ac:spMk id="150" creationId="{EB372421-8514-4830-91DA-B6399D131E79}"/>
          </ac:spMkLst>
        </pc:spChg>
        <pc:spChg chg="del">
          <ac:chgData name="Swati Srivastava" userId="sg+8E020WmvUHQdkEEMKzAl3HKzJOxs6XnuvEALaej8=" providerId="None" clId="Web-{22CB6174-8F95-4FE4-9C6A-B11C3663FC8A}" dt="2022-02-14T02:05:15.315" v="2"/>
          <ac:spMkLst>
            <pc:docMk/>
            <pc:sldMk cId="1501710035" sldId="257"/>
            <ac:spMk id="152" creationId="{72D1058E-D592-4A5E-9B07-B3D0E18D8C6A}"/>
          </ac:spMkLst>
        </pc:spChg>
        <pc:spChg chg="del">
          <ac:chgData name="Swati Srivastava" userId="sg+8E020WmvUHQdkEEMKzAl3HKzJOxs6XnuvEALaej8=" providerId="None" clId="Web-{22CB6174-8F95-4FE4-9C6A-B11C3663FC8A}" dt="2022-02-14T02:07:54.222" v="25"/>
          <ac:spMkLst>
            <pc:docMk/>
            <pc:sldMk cId="1501710035" sldId="257"/>
            <ac:spMk id="177" creationId="{F2398FA1-E6B4-4305-AEC4-40797A12E123}"/>
          </ac:spMkLst>
        </pc:spChg>
        <pc:grpChg chg="del">
          <ac:chgData name="Swati Srivastava" userId="sg+8E020WmvUHQdkEEMKzAl3HKzJOxs6XnuvEALaej8=" providerId="None" clId="Web-{22CB6174-8F95-4FE4-9C6A-B11C3663FC8A}" dt="2022-02-14T02:05:04.362" v="0"/>
          <ac:grpSpMkLst>
            <pc:docMk/>
            <pc:sldMk cId="1501710035" sldId="257"/>
            <ac:grpSpMk id="153" creationId="{3FBDD68F-8053-4547-8FE0-CCB4C6DC2191}"/>
          </ac:grpSpMkLst>
        </pc:grpChg>
        <pc:picChg chg="add del mod">
          <ac:chgData name="Swati Srivastava" userId="sg+8E020WmvUHQdkEEMKzAl3HKzJOxs6XnuvEALaej8=" providerId="None" clId="Web-{22CB6174-8F95-4FE4-9C6A-B11C3663FC8A}" dt="2022-02-14T02:05:50.144" v="9"/>
          <ac:picMkLst>
            <pc:docMk/>
            <pc:sldMk cId="1501710035" sldId="257"/>
            <ac:picMk id="4" creationId="{D83E69DC-CEB6-4B50-B91C-F5B2C47CA6F7}"/>
          </ac:picMkLst>
        </pc:picChg>
        <pc:picChg chg="add del mod">
          <ac:chgData name="Swati Srivastava" userId="sg+8E020WmvUHQdkEEMKzAl3HKzJOxs6XnuvEALaej8=" providerId="None" clId="Web-{22CB6174-8F95-4FE4-9C6A-B11C3663FC8A}" dt="2022-02-14T02:06:59.425" v="15"/>
          <ac:picMkLst>
            <pc:docMk/>
            <pc:sldMk cId="1501710035" sldId="257"/>
            <ac:picMk id="7" creationId="{FC1CA7FF-EA0F-49E9-9FC5-340CFF28013C}"/>
          </ac:picMkLst>
        </pc:picChg>
        <pc:picChg chg="add del mod">
          <ac:chgData name="Swati Srivastava" userId="sg+8E020WmvUHQdkEEMKzAl3HKzJOxs6XnuvEALaej8=" providerId="None" clId="Web-{22CB6174-8F95-4FE4-9C6A-B11C3663FC8A}" dt="2022-02-14T02:06:50.456" v="13"/>
          <ac:picMkLst>
            <pc:docMk/>
            <pc:sldMk cId="1501710035" sldId="257"/>
            <ac:picMk id="11" creationId="{EBB51222-AEE2-492D-837B-DE3A26A153F0}"/>
          </ac:picMkLst>
        </pc:picChg>
        <pc:picChg chg="add mod">
          <ac:chgData name="Swati Srivastava" userId="sg+8E020WmvUHQdkEEMKzAl3HKzJOxs6XnuvEALaej8=" providerId="None" clId="Web-{22CB6174-8F95-4FE4-9C6A-B11C3663FC8A}" dt="2022-02-14T02:09:43.519" v="35" actId="14100"/>
          <ac:picMkLst>
            <pc:docMk/>
            <pc:sldMk cId="1501710035" sldId="257"/>
            <ac:picMk id="13" creationId="{27A89E25-4840-47FA-978A-49FF1EC7B3C1}"/>
          </ac:picMkLst>
        </pc:picChg>
      </pc:sldChg>
    </pc:docChg>
  </pc:docChgLst>
  <pc:docChgLst>
    <pc:chgData name="Swati Srivastava" userId="sg+8E020WmvUHQdkEEMKzAl3HKzJOxs6XnuvEALaej8=" providerId="None" clId="Web-{6AF84EC0-4D4F-4504-A4D6-17940B0CBC4A}"/>
    <pc:docChg chg="modSld">
      <pc:chgData name="Swati Srivastava" userId="sg+8E020WmvUHQdkEEMKzAl3HKzJOxs6XnuvEALaej8=" providerId="None" clId="Web-{6AF84EC0-4D4F-4504-A4D6-17940B0CBC4A}" dt="2022-03-04T02:09:51.388" v="4" actId="20577"/>
      <pc:docMkLst>
        <pc:docMk/>
      </pc:docMkLst>
      <pc:sldChg chg="modSp">
        <pc:chgData name="Swati Srivastava" userId="sg+8E020WmvUHQdkEEMKzAl3HKzJOxs6XnuvEALaej8=" providerId="None" clId="Web-{6AF84EC0-4D4F-4504-A4D6-17940B0CBC4A}" dt="2022-03-04T02:09:51.388" v="4" actId="20577"/>
        <pc:sldMkLst>
          <pc:docMk/>
          <pc:sldMk cId="1501710035" sldId="257"/>
        </pc:sldMkLst>
        <pc:spChg chg="mod">
          <ac:chgData name="Swati Srivastava" userId="sg+8E020WmvUHQdkEEMKzAl3HKzJOxs6XnuvEALaej8=" providerId="None" clId="Web-{6AF84EC0-4D4F-4504-A4D6-17940B0CBC4A}" dt="2022-03-04T02:09:51.388" v="4" actId="20577"/>
          <ac:spMkLst>
            <pc:docMk/>
            <pc:sldMk cId="1501710035" sldId="257"/>
            <ac:spMk id="105" creationId="{09694568-FBFD-4B0E-96E5-CBF182AEC315}"/>
          </ac:spMkLst>
        </pc:spChg>
        <pc:spChg chg="mod">
          <ac:chgData name="Swati Srivastava" userId="sg+8E020WmvUHQdkEEMKzAl3HKzJOxs6XnuvEALaej8=" providerId="None" clId="Web-{6AF84EC0-4D4F-4504-A4D6-17940B0CBC4A}" dt="2022-03-04T02:09:29.716" v="3" actId="20577"/>
          <ac:spMkLst>
            <pc:docMk/>
            <pc:sldMk cId="1501710035" sldId="257"/>
            <ac:spMk id="209" creationId="{231A1C19-1905-4CA9-9C87-3C1F35D48A04}"/>
          </ac:spMkLst>
        </pc:spChg>
      </pc:sldChg>
    </pc:docChg>
  </pc:docChgLst>
  <pc:docChgLst>
    <pc:chgData name="Yu-Lin Tai" userId="qxBCN0BVxyTI6XZ8yOgnvlc88beCnpFuFd6D99Fo7n0=" providerId="None" clId="Web-{DC6025DF-8F01-4472-8DDE-B8D187B112DB}"/>
    <pc:docChg chg="modSld">
      <pc:chgData name="Yu-Lin Tai" userId="qxBCN0BVxyTI6XZ8yOgnvlc88beCnpFuFd6D99Fo7n0=" providerId="None" clId="Web-{DC6025DF-8F01-4472-8DDE-B8D187B112DB}" dt="2022-03-04T23:07:52.274" v="7" actId="1076"/>
      <pc:docMkLst>
        <pc:docMk/>
      </pc:docMkLst>
      <pc:sldChg chg="addSp modSp">
        <pc:chgData name="Yu-Lin Tai" userId="qxBCN0BVxyTI6XZ8yOgnvlc88beCnpFuFd6D99Fo7n0=" providerId="None" clId="Web-{DC6025DF-8F01-4472-8DDE-B8D187B112DB}" dt="2022-03-04T23:07:52.274" v="7" actId="1076"/>
        <pc:sldMkLst>
          <pc:docMk/>
          <pc:sldMk cId="1501710035" sldId="257"/>
        </pc:sldMkLst>
        <pc:picChg chg="add mod">
          <ac:chgData name="Yu-Lin Tai" userId="qxBCN0BVxyTI6XZ8yOgnvlc88beCnpFuFd6D99Fo7n0=" providerId="None" clId="Web-{DC6025DF-8F01-4472-8DDE-B8D187B112DB}" dt="2022-03-04T23:07:52.274" v="7" actId="1076"/>
          <ac:picMkLst>
            <pc:docMk/>
            <pc:sldMk cId="1501710035" sldId="257"/>
            <ac:picMk id="11" creationId="{ABD0B770-DC5B-4878-AC36-45ECBDC20431}"/>
          </ac:picMkLst>
        </pc:picChg>
      </pc:sldChg>
    </pc:docChg>
  </pc:docChgLst>
  <pc:docChgLst>
    <pc:chgData name="Swati Srivastava" userId="sg+8E020WmvUHQdkEEMKzAl3HKzJOxs6XnuvEALaej8=" providerId="None" clId="Web-{A88119A4-66A1-4D59-BDE3-46A7AA0417EA}"/>
    <pc:docChg chg="modSld">
      <pc:chgData name="Swati Srivastava" userId="sg+8E020WmvUHQdkEEMKzAl3HKzJOxs6XnuvEALaej8=" providerId="None" clId="Web-{A88119A4-66A1-4D59-BDE3-46A7AA0417EA}" dt="2022-03-10T00:30:13.952" v="67" actId="20577"/>
      <pc:docMkLst>
        <pc:docMk/>
      </pc:docMkLst>
      <pc:sldChg chg="modSp">
        <pc:chgData name="Swati Srivastava" userId="sg+8E020WmvUHQdkEEMKzAl3HKzJOxs6XnuvEALaej8=" providerId="None" clId="Web-{A88119A4-66A1-4D59-BDE3-46A7AA0417EA}" dt="2022-03-10T00:30:13.952" v="67" actId="20577"/>
        <pc:sldMkLst>
          <pc:docMk/>
          <pc:sldMk cId="1501710035" sldId="257"/>
        </pc:sldMkLst>
        <pc:spChg chg="mod">
          <ac:chgData name="Swati Srivastava" userId="sg+8E020WmvUHQdkEEMKzAl3HKzJOxs6XnuvEALaej8=" providerId="None" clId="Web-{A88119A4-66A1-4D59-BDE3-46A7AA0417EA}" dt="2022-03-09T22:29:30.163" v="59" actId="14100"/>
          <ac:spMkLst>
            <pc:docMk/>
            <pc:sldMk cId="1501710035" sldId="257"/>
            <ac:spMk id="10" creationId="{63492AC6-4137-416C-80D7-23A7961A3E88}"/>
          </ac:spMkLst>
        </pc:spChg>
        <pc:spChg chg="mod">
          <ac:chgData name="Swati Srivastava" userId="sg+8E020WmvUHQdkEEMKzAl3HKzJOxs6XnuvEALaej8=" providerId="None" clId="Web-{A88119A4-66A1-4D59-BDE3-46A7AA0417EA}" dt="2022-03-10T00:30:13.952" v="67" actId="20577"/>
          <ac:spMkLst>
            <pc:docMk/>
            <pc:sldMk cId="1501710035" sldId="257"/>
            <ac:spMk id="105" creationId="{09694568-FBFD-4B0E-96E5-CBF182AEC315}"/>
          </ac:spMkLst>
        </pc:spChg>
        <pc:spChg chg="mod">
          <ac:chgData name="Swati Srivastava" userId="sg+8E020WmvUHQdkEEMKzAl3HKzJOxs6XnuvEALaej8=" providerId="None" clId="Web-{A88119A4-66A1-4D59-BDE3-46A7AA0417EA}" dt="2022-03-09T22:29:56.288" v="61" actId="14100"/>
          <ac:spMkLst>
            <pc:docMk/>
            <pc:sldMk cId="1501710035" sldId="257"/>
            <ac:spMk id="209" creationId="{231A1C19-1905-4CA9-9C87-3C1F35D48A04}"/>
          </ac:spMkLst>
        </pc:spChg>
        <pc:grpChg chg="mod">
          <ac:chgData name="Swati Srivastava" userId="sg+8E020WmvUHQdkEEMKzAl3HKzJOxs6XnuvEALaej8=" providerId="None" clId="Web-{A88119A4-66A1-4D59-BDE3-46A7AA0417EA}" dt="2022-03-09T22:24:08.133" v="46" actId="1076"/>
          <ac:grpSpMkLst>
            <pc:docMk/>
            <pc:sldMk cId="1501710035" sldId="257"/>
            <ac:grpSpMk id="32" creationId="{F2D71D57-9643-470F-AA5E-895459E788AE}"/>
          </ac:grpSpMkLst>
        </pc:grpChg>
        <pc:picChg chg="mod">
          <ac:chgData name="Swati Srivastava" userId="sg+8E020WmvUHQdkEEMKzAl3HKzJOxs6XnuvEALaej8=" providerId="None" clId="Web-{A88119A4-66A1-4D59-BDE3-46A7AA0417EA}" dt="2022-03-09T22:29:44.663" v="60" actId="1076"/>
          <ac:picMkLst>
            <pc:docMk/>
            <pc:sldMk cId="1501710035" sldId="257"/>
            <ac:picMk id="11" creationId="{ABD0B770-DC5B-4878-AC36-45ECBDC20431}"/>
          </ac:picMkLst>
        </pc:picChg>
        <pc:cxnChg chg="mod">
          <ac:chgData name="Swati Srivastava" userId="sg+8E020WmvUHQdkEEMKzAl3HKzJOxs6XnuvEALaej8=" providerId="None" clId="Web-{A88119A4-66A1-4D59-BDE3-46A7AA0417EA}" dt="2022-03-09T22:28:36.476" v="56" actId="1076"/>
          <ac:cxnSpMkLst>
            <pc:docMk/>
            <pc:sldMk cId="1501710035" sldId="257"/>
            <ac:cxnSpMk id="74" creationId="{1226D37E-9553-454B-A4AB-E33CD7436CAA}"/>
          </ac:cxnSpMkLst>
        </pc:cxnChg>
        <pc:cxnChg chg="mod">
          <ac:chgData name="Swati Srivastava" userId="sg+8E020WmvUHQdkEEMKzAl3HKzJOxs6XnuvEALaej8=" providerId="None" clId="Web-{A88119A4-66A1-4D59-BDE3-46A7AA0417EA}" dt="2022-03-09T22:25:28.726" v="53" actId="1076"/>
          <ac:cxnSpMkLst>
            <pc:docMk/>
            <pc:sldMk cId="1501710035" sldId="257"/>
            <ac:cxnSpMk id="102" creationId="{63B6A559-618D-41E3-A62C-904B9A4CC215}"/>
          </ac:cxnSpMkLst>
        </pc:cxnChg>
      </pc:sldChg>
    </pc:docChg>
  </pc:docChgLst>
  <pc:docChgLst>
    <pc:chgData name="Swati Srivastava" userId="sg+8E020WmvUHQdkEEMKzAl3HKzJOxs6XnuvEALaej8=" providerId="None" clId="Web-{82DDCF58-EE45-41B6-B329-C404F49939FA}"/>
    <pc:docChg chg="modSld">
      <pc:chgData name="Swati Srivastava" userId="sg+8E020WmvUHQdkEEMKzAl3HKzJOxs6XnuvEALaej8=" providerId="None" clId="Web-{82DDCF58-EE45-41B6-B329-C404F49939FA}" dt="2022-03-11T22:33:39.493" v="62" actId="1076"/>
      <pc:docMkLst>
        <pc:docMk/>
      </pc:docMkLst>
      <pc:sldChg chg="addSp delSp modSp">
        <pc:chgData name="Swati Srivastava" userId="sg+8E020WmvUHQdkEEMKzAl3HKzJOxs6XnuvEALaej8=" providerId="None" clId="Web-{82DDCF58-EE45-41B6-B329-C404F49939FA}" dt="2022-03-11T22:33:39.493" v="62" actId="1076"/>
        <pc:sldMkLst>
          <pc:docMk/>
          <pc:sldMk cId="1501710035" sldId="257"/>
        </pc:sldMkLst>
        <pc:spChg chg="mod">
          <ac:chgData name="Swati Srivastava" userId="sg+8E020WmvUHQdkEEMKzAl3HKzJOxs6XnuvEALaej8=" providerId="None" clId="Web-{82DDCF58-EE45-41B6-B329-C404F49939FA}" dt="2022-03-11T22:31:50.948" v="44" actId="20577"/>
          <ac:spMkLst>
            <pc:docMk/>
            <pc:sldMk cId="1501710035" sldId="257"/>
            <ac:spMk id="105" creationId="{09694568-FBFD-4B0E-96E5-CBF182AEC315}"/>
          </ac:spMkLst>
        </pc:spChg>
        <pc:picChg chg="add del">
          <ac:chgData name="Swati Srivastava" userId="sg+8E020WmvUHQdkEEMKzAl3HKzJOxs6XnuvEALaej8=" providerId="None" clId="Web-{82DDCF58-EE45-41B6-B329-C404F49939FA}" dt="2022-03-11T22:33:08.134" v="57"/>
          <ac:picMkLst>
            <pc:docMk/>
            <pc:sldMk cId="1501710035" sldId="257"/>
            <ac:picMk id="2" creationId="{8AF632A4-5AD6-4C2E-9A63-444D9E0AFEF5}"/>
          </ac:picMkLst>
        </pc:picChg>
        <pc:picChg chg="add del mod">
          <ac:chgData name="Swati Srivastava" userId="sg+8E020WmvUHQdkEEMKzAl3HKzJOxs6XnuvEALaej8=" providerId="None" clId="Web-{82DDCF58-EE45-41B6-B329-C404F49939FA}" dt="2022-03-11T22:32:22.650" v="47"/>
          <ac:picMkLst>
            <pc:docMk/>
            <pc:sldMk cId="1501710035" sldId="257"/>
            <ac:picMk id="13" creationId="{5E2F89DC-BD85-4C09-8339-914FB73FF89D}"/>
          </ac:picMkLst>
        </pc:picChg>
        <pc:picChg chg="add del mod">
          <ac:chgData name="Swati Srivastava" userId="sg+8E020WmvUHQdkEEMKzAl3HKzJOxs6XnuvEALaej8=" providerId="None" clId="Web-{82DDCF58-EE45-41B6-B329-C404F49939FA}" dt="2022-03-11T22:33:39.493" v="62" actId="1076"/>
          <ac:picMkLst>
            <pc:docMk/>
            <pc:sldMk cId="1501710035" sldId="257"/>
            <ac:picMk id="16" creationId="{43493550-596C-4B5E-B15C-7AED4E3BDAB4}"/>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6" y="6817180"/>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3"/>
            <a:ext cx="30724475" cy="5607957"/>
          </a:xfrm>
        </p:spPr>
        <p:txBody>
          <a:bodyPr/>
          <a:lstStyle>
            <a:lvl1pPr marL="0" indent="0" algn="ctr">
              <a:buNone/>
              <a:defRPr/>
            </a:lvl1pPr>
            <a:lvl2pPr marL="261244" indent="0" algn="ctr">
              <a:buNone/>
              <a:defRPr/>
            </a:lvl2pPr>
            <a:lvl3pPr marL="522488" indent="0" algn="ctr">
              <a:buNone/>
              <a:defRPr/>
            </a:lvl3pPr>
            <a:lvl4pPr marL="783732" indent="0" algn="ctr">
              <a:buNone/>
              <a:defRPr/>
            </a:lvl4pPr>
            <a:lvl5pPr marL="1044976" indent="0" algn="ctr">
              <a:buNone/>
              <a:defRPr/>
            </a:lvl5pPr>
            <a:lvl6pPr marL="1306220" indent="0" algn="ctr">
              <a:buNone/>
              <a:defRPr/>
            </a:lvl6pPr>
            <a:lvl7pPr marL="1567464" indent="0" algn="ctr">
              <a:buNone/>
              <a:defRPr/>
            </a:lvl7pPr>
            <a:lvl8pPr marL="1828709" indent="0" algn="ctr">
              <a:buNone/>
              <a:defRPr/>
            </a:lvl8pPr>
            <a:lvl9pPr marL="2089953"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4" y="1950359"/>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59"/>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1"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1" y="9301843"/>
            <a:ext cx="37307839" cy="4800600"/>
          </a:xfrm>
        </p:spPr>
        <p:txBody>
          <a:bodyPr anchor="b"/>
          <a:lstStyle>
            <a:lvl1pPr marL="0" indent="0">
              <a:buNone/>
              <a:defRPr sz="1143"/>
            </a:lvl1pPr>
            <a:lvl2pPr marL="261244" indent="0">
              <a:buNone/>
              <a:defRPr sz="1029"/>
            </a:lvl2pPr>
            <a:lvl3pPr marL="522488" indent="0">
              <a:buNone/>
              <a:defRPr sz="914"/>
            </a:lvl3pPr>
            <a:lvl4pPr marL="783732" indent="0">
              <a:buNone/>
              <a:defRPr sz="800"/>
            </a:lvl4pPr>
            <a:lvl5pPr marL="1044976" indent="0">
              <a:buNone/>
              <a:defRPr sz="800"/>
            </a:lvl5pPr>
            <a:lvl6pPr marL="1306220" indent="0">
              <a:buNone/>
              <a:defRPr sz="800"/>
            </a:lvl6pPr>
            <a:lvl7pPr marL="1567464" indent="0">
              <a:buNone/>
              <a:defRPr sz="800"/>
            </a:lvl7pPr>
            <a:lvl8pPr marL="1828709" indent="0">
              <a:buNone/>
              <a:defRPr sz="800"/>
            </a:lvl8pPr>
            <a:lvl9pPr marL="2089953"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3"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0"/>
            <a:ext cx="19392901"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2"/>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0"/>
            <a:ext cx="19400837" cy="2047421"/>
          </a:xfrm>
        </p:spPr>
        <p:txBody>
          <a:bodyPr anchor="b"/>
          <a:lstStyle>
            <a:lvl1pPr marL="0" indent="0">
              <a:buNone/>
              <a:defRPr sz="1371" b="1"/>
            </a:lvl1pPr>
            <a:lvl2pPr marL="261244" indent="0">
              <a:buNone/>
              <a:defRPr sz="1143" b="1"/>
            </a:lvl2pPr>
            <a:lvl3pPr marL="522488" indent="0">
              <a:buNone/>
              <a:defRPr sz="1029" b="1"/>
            </a:lvl3pPr>
            <a:lvl4pPr marL="783732" indent="0">
              <a:buNone/>
              <a:defRPr sz="914" b="1"/>
            </a:lvl4pPr>
            <a:lvl5pPr marL="1044976" indent="0">
              <a:buNone/>
              <a:defRPr sz="914" b="1"/>
            </a:lvl5pPr>
            <a:lvl6pPr marL="1306220" indent="0">
              <a:buNone/>
              <a:defRPr sz="914" b="1"/>
            </a:lvl6pPr>
            <a:lvl7pPr marL="1567464" indent="0">
              <a:buNone/>
              <a:defRPr sz="914" b="1"/>
            </a:lvl7pPr>
            <a:lvl8pPr marL="1828709" indent="0">
              <a:buNone/>
              <a:defRPr sz="914" b="1"/>
            </a:lvl8pPr>
            <a:lvl9pPr marL="2089953"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2"/>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6"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6" y="4591957"/>
            <a:ext cx="14439901" cy="15011400"/>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4"/>
            <a:ext cx="26335037" cy="13167179"/>
          </a:xfrm>
        </p:spPr>
        <p:txBody>
          <a:bodyPr/>
          <a:lstStyle>
            <a:lvl1pPr marL="0" indent="0">
              <a:buNone/>
              <a:defRPr sz="1828"/>
            </a:lvl1pPr>
            <a:lvl2pPr marL="261244" indent="0">
              <a:buNone/>
              <a:defRPr sz="1600"/>
            </a:lvl2pPr>
            <a:lvl3pPr marL="522488" indent="0">
              <a:buNone/>
              <a:defRPr sz="1371"/>
            </a:lvl3pPr>
            <a:lvl4pPr marL="783732" indent="0">
              <a:buNone/>
              <a:defRPr sz="1143"/>
            </a:lvl4pPr>
            <a:lvl5pPr marL="1044976" indent="0">
              <a:buNone/>
              <a:defRPr sz="1143"/>
            </a:lvl5pPr>
            <a:lvl6pPr marL="1306220" indent="0">
              <a:buNone/>
              <a:defRPr sz="1143"/>
            </a:lvl6pPr>
            <a:lvl7pPr marL="1567464" indent="0">
              <a:buNone/>
              <a:defRPr sz="1143"/>
            </a:lvl7pPr>
            <a:lvl8pPr marL="1828709" indent="0">
              <a:buNone/>
              <a:defRPr sz="1143"/>
            </a:lvl8pPr>
            <a:lvl9pPr marL="2089953" indent="0">
              <a:buNone/>
              <a:defRPr sz="1143"/>
            </a:lvl9pPr>
          </a:lstStyle>
          <a:p>
            <a:r>
              <a:rPr lang="en-US"/>
              <a:t>Click icon to add picture</a:t>
            </a:r>
          </a:p>
        </p:txBody>
      </p:sp>
      <p:sp>
        <p:nvSpPr>
          <p:cNvPr id="4" name="Text Placeholder 3"/>
          <p:cNvSpPr>
            <a:spLocks noGrp="1"/>
          </p:cNvSpPr>
          <p:nvPr>
            <p:ph type="body" sz="half" idx="2"/>
          </p:nvPr>
        </p:nvSpPr>
        <p:spPr>
          <a:xfrm>
            <a:off x="8602664" y="17175844"/>
            <a:ext cx="26335037" cy="2575379"/>
          </a:xfrm>
        </p:spPr>
        <p:txBody>
          <a:bodyPr/>
          <a:lstStyle>
            <a:lvl1pPr marL="0" indent="0">
              <a:buNone/>
              <a:defRPr sz="800"/>
            </a:lvl1pPr>
            <a:lvl2pPr marL="261244" indent="0">
              <a:buNone/>
              <a:defRPr sz="686"/>
            </a:lvl2pPr>
            <a:lvl3pPr marL="522488" indent="0">
              <a:buNone/>
              <a:defRPr sz="571"/>
            </a:lvl3pPr>
            <a:lvl4pPr marL="783732" indent="0">
              <a:buNone/>
              <a:defRPr sz="514"/>
            </a:lvl4pPr>
            <a:lvl5pPr marL="1044976" indent="0">
              <a:buNone/>
              <a:defRPr sz="514"/>
            </a:lvl5pPr>
            <a:lvl6pPr marL="1306220" indent="0">
              <a:buNone/>
              <a:defRPr sz="514"/>
            </a:lvl6pPr>
            <a:lvl7pPr marL="1567464" indent="0">
              <a:buNone/>
              <a:defRPr sz="514"/>
            </a:lvl7pPr>
            <a:lvl8pPr marL="1828709" indent="0">
              <a:buNone/>
              <a:defRPr sz="514"/>
            </a:lvl8pPr>
            <a:lvl9pPr marL="2089953"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77"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6" y="1950358"/>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6"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125">
              <a:defRPr sz="3828"/>
            </a:lvl1pPr>
          </a:lstStyle>
          <a:p>
            <a:endParaRPr lang="en-AU" altLang="en-US"/>
          </a:p>
        </p:txBody>
      </p:sp>
      <p:sp>
        <p:nvSpPr>
          <p:cNvPr id="1029" name="Rectangle 5"/>
          <p:cNvSpPr>
            <a:spLocks noGrp="1" noChangeArrowheads="1"/>
          </p:cNvSpPr>
          <p:nvPr>
            <p:ph type="ftr" sz="quarter" idx="3"/>
          </p:nvPr>
        </p:nvSpPr>
        <p:spPr bwMode="auto">
          <a:xfrm>
            <a:off x="14997115"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125">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125">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125" rtl="0" eaLnBrk="1" fontAlgn="base" hangingPunct="1">
        <a:spcBef>
          <a:spcPct val="0"/>
        </a:spcBef>
        <a:spcAft>
          <a:spcPct val="0"/>
        </a:spcAft>
        <a:defRPr sz="12057">
          <a:solidFill>
            <a:schemeClr val="tx2"/>
          </a:solidFill>
          <a:latin typeface="+mj-lt"/>
          <a:ea typeface="+mj-ea"/>
          <a:cs typeface="+mj-cs"/>
        </a:defRPr>
      </a:lvl1pPr>
      <a:lvl2pPr algn="ctr" defTabSz="2508125" rtl="0" eaLnBrk="1" fontAlgn="base" hangingPunct="1">
        <a:spcBef>
          <a:spcPct val="0"/>
        </a:spcBef>
        <a:spcAft>
          <a:spcPct val="0"/>
        </a:spcAft>
        <a:defRPr sz="12057">
          <a:solidFill>
            <a:schemeClr val="tx2"/>
          </a:solidFill>
          <a:latin typeface="Times" charset="0"/>
        </a:defRPr>
      </a:lvl2pPr>
      <a:lvl3pPr algn="ctr" defTabSz="2508125" rtl="0" eaLnBrk="1" fontAlgn="base" hangingPunct="1">
        <a:spcBef>
          <a:spcPct val="0"/>
        </a:spcBef>
        <a:spcAft>
          <a:spcPct val="0"/>
        </a:spcAft>
        <a:defRPr sz="12057">
          <a:solidFill>
            <a:schemeClr val="tx2"/>
          </a:solidFill>
          <a:latin typeface="Times" charset="0"/>
        </a:defRPr>
      </a:lvl3pPr>
      <a:lvl4pPr algn="ctr" defTabSz="2508125" rtl="0" eaLnBrk="1" fontAlgn="base" hangingPunct="1">
        <a:spcBef>
          <a:spcPct val="0"/>
        </a:spcBef>
        <a:spcAft>
          <a:spcPct val="0"/>
        </a:spcAft>
        <a:defRPr sz="12057">
          <a:solidFill>
            <a:schemeClr val="tx2"/>
          </a:solidFill>
          <a:latin typeface="Times" charset="0"/>
        </a:defRPr>
      </a:lvl4pPr>
      <a:lvl5pPr algn="ctr" defTabSz="2508125" rtl="0" eaLnBrk="1" fontAlgn="base" hangingPunct="1">
        <a:spcBef>
          <a:spcPct val="0"/>
        </a:spcBef>
        <a:spcAft>
          <a:spcPct val="0"/>
        </a:spcAft>
        <a:defRPr sz="12057">
          <a:solidFill>
            <a:schemeClr val="tx2"/>
          </a:solidFill>
          <a:latin typeface="Times" charset="0"/>
        </a:defRPr>
      </a:lvl5pPr>
      <a:lvl6pPr marL="261244" algn="ctr" defTabSz="2508125" rtl="0" eaLnBrk="1" fontAlgn="base" hangingPunct="1">
        <a:spcBef>
          <a:spcPct val="0"/>
        </a:spcBef>
        <a:spcAft>
          <a:spcPct val="0"/>
        </a:spcAft>
        <a:defRPr sz="12057">
          <a:solidFill>
            <a:schemeClr val="tx2"/>
          </a:solidFill>
          <a:latin typeface="Times" charset="0"/>
        </a:defRPr>
      </a:lvl6pPr>
      <a:lvl7pPr marL="522488" algn="ctr" defTabSz="2508125" rtl="0" eaLnBrk="1" fontAlgn="base" hangingPunct="1">
        <a:spcBef>
          <a:spcPct val="0"/>
        </a:spcBef>
        <a:spcAft>
          <a:spcPct val="0"/>
        </a:spcAft>
        <a:defRPr sz="12057">
          <a:solidFill>
            <a:schemeClr val="tx2"/>
          </a:solidFill>
          <a:latin typeface="Times" charset="0"/>
        </a:defRPr>
      </a:lvl7pPr>
      <a:lvl8pPr marL="783732" algn="ctr" defTabSz="2508125" rtl="0" eaLnBrk="1" fontAlgn="base" hangingPunct="1">
        <a:spcBef>
          <a:spcPct val="0"/>
        </a:spcBef>
        <a:spcAft>
          <a:spcPct val="0"/>
        </a:spcAft>
        <a:defRPr sz="12057">
          <a:solidFill>
            <a:schemeClr val="tx2"/>
          </a:solidFill>
          <a:latin typeface="Times" charset="0"/>
        </a:defRPr>
      </a:lvl8pPr>
      <a:lvl9pPr marL="1044976" algn="ctr" defTabSz="2508125" rtl="0" eaLnBrk="1" fontAlgn="base" hangingPunct="1">
        <a:spcBef>
          <a:spcPct val="0"/>
        </a:spcBef>
        <a:spcAft>
          <a:spcPct val="0"/>
        </a:spcAft>
        <a:defRPr sz="12057">
          <a:solidFill>
            <a:schemeClr val="tx2"/>
          </a:solidFill>
          <a:latin typeface="Times" charset="0"/>
        </a:defRPr>
      </a:lvl9pPr>
    </p:titleStyle>
    <p:body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88" rtl="0" eaLnBrk="1" latinLnBrk="0" hangingPunct="1">
        <a:defRPr sz="1029" kern="1200">
          <a:solidFill>
            <a:schemeClr val="tx1"/>
          </a:solidFill>
          <a:latin typeface="+mn-lt"/>
          <a:ea typeface="+mn-ea"/>
          <a:cs typeface="+mn-cs"/>
        </a:defRPr>
      </a:lvl1pPr>
      <a:lvl2pPr marL="261244" algn="l" defTabSz="522488" rtl="0" eaLnBrk="1" latinLnBrk="0" hangingPunct="1">
        <a:defRPr sz="1029" kern="1200">
          <a:solidFill>
            <a:schemeClr val="tx1"/>
          </a:solidFill>
          <a:latin typeface="+mn-lt"/>
          <a:ea typeface="+mn-ea"/>
          <a:cs typeface="+mn-cs"/>
        </a:defRPr>
      </a:lvl2pPr>
      <a:lvl3pPr marL="522488" algn="l" defTabSz="522488" rtl="0" eaLnBrk="1" latinLnBrk="0" hangingPunct="1">
        <a:defRPr sz="1029" kern="1200">
          <a:solidFill>
            <a:schemeClr val="tx1"/>
          </a:solidFill>
          <a:latin typeface="+mn-lt"/>
          <a:ea typeface="+mn-ea"/>
          <a:cs typeface="+mn-cs"/>
        </a:defRPr>
      </a:lvl3pPr>
      <a:lvl4pPr marL="783732" algn="l" defTabSz="522488" rtl="0" eaLnBrk="1" latinLnBrk="0" hangingPunct="1">
        <a:defRPr sz="1029" kern="1200">
          <a:solidFill>
            <a:schemeClr val="tx1"/>
          </a:solidFill>
          <a:latin typeface="+mn-lt"/>
          <a:ea typeface="+mn-ea"/>
          <a:cs typeface="+mn-cs"/>
        </a:defRPr>
      </a:lvl4pPr>
      <a:lvl5pPr marL="1044976" algn="l" defTabSz="522488" rtl="0" eaLnBrk="1" latinLnBrk="0" hangingPunct="1">
        <a:defRPr sz="1029" kern="1200">
          <a:solidFill>
            <a:schemeClr val="tx1"/>
          </a:solidFill>
          <a:latin typeface="+mn-lt"/>
          <a:ea typeface="+mn-ea"/>
          <a:cs typeface="+mn-cs"/>
        </a:defRPr>
      </a:lvl5pPr>
      <a:lvl6pPr marL="1306220" algn="l" defTabSz="522488" rtl="0" eaLnBrk="1" latinLnBrk="0" hangingPunct="1">
        <a:defRPr sz="1029" kern="1200">
          <a:solidFill>
            <a:schemeClr val="tx1"/>
          </a:solidFill>
          <a:latin typeface="+mn-lt"/>
          <a:ea typeface="+mn-ea"/>
          <a:cs typeface="+mn-cs"/>
        </a:defRPr>
      </a:lvl6pPr>
      <a:lvl7pPr marL="1567464" algn="l" defTabSz="522488" rtl="0" eaLnBrk="1" latinLnBrk="0" hangingPunct="1">
        <a:defRPr sz="1029" kern="1200">
          <a:solidFill>
            <a:schemeClr val="tx1"/>
          </a:solidFill>
          <a:latin typeface="+mn-lt"/>
          <a:ea typeface="+mn-ea"/>
          <a:cs typeface="+mn-cs"/>
        </a:defRPr>
      </a:lvl7pPr>
      <a:lvl8pPr marL="1828709" algn="l" defTabSz="522488" rtl="0" eaLnBrk="1" latinLnBrk="0" hangingPunct="1">
        <a:defRPr sz="1029" kern="1200">
          <a:solidFill>
            <a:schemeClr val="tx1"/>
          </a:solidFill>
          <a:latin typeface="+mn-lt"/>
          <a:ea typeface="+mn-ea"/>
          <a:cs typeface="+mn-cs"/>
        </a:defRPr>
      </a:lvl8pPr>
      <a:lvl9pPr marL="2089953" algn="l" defTabSz="522488"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png"/><Relationship Id="rId3" Type="http://schemas.openxmlformats.org/officeDocument/2006/relationships/tags" Target="../tags/tag5.xml"/><Relationship Id="rId7" Type="http://schemas.openxmlformats.org/officeDocument/2006/relationships/oleObject" Target="../embeddings/oleObject2.bin"/><Relationship Id="rId12" Type="http://schemas.openxmlformats.org/officeDocument/2006/relationships/image" Target="../media/image6.png"/><Relationship Id="rId17" Type="http://schemas.openxmlformats.org/officeDocument/2006/relationships/image" Target="../media/image11.png"/><Relationship Id="rId2" Type="http://schemas.openxmlformats.org/officeDocument/2006/relationships/tags" Target="../tags/tag4.xml"/><Relationship Id="rId16" Type="http://schemas.openxmlformats.org/officeDocument/2006/relationships/image" Target="../media/image10.png"/><Relationship Id="rId1" Type="http://schemas.openxmlformats.org/officeDocument/2006/relationships/vmlDrawing" Target="../drawings/vmlDrawing2.vml"/><Relationship Id="rId6" Type="http://schemas.openxmlformats.org/officeDocument/2006/relationships/image" Target="../media/image2.png"/><Relationship Id="rId11" Type="http://schemas.openxmlformats.org/officeDocument/2006/relationships/image" Target="../media/image5.png"/><Relationship Id="rId5" Type="http://schemas.openxmlformats.org/officeDocument/2006/relationships/slideLayout" Target="../slideLayouts/slideLayout7.xml"/><Relationship Id="rId15" Type="http://schemas.openxmlformats.org/officeDocument/2006/relationships/image" Target="../media/image9.png"/><Relationship Id="rId10" Type="http://schemas.openxmlformats.org/officeDocument/2006/relationships/image" Target="../media/image4.png"/><Relationship Id="rId4" Type="http://schemas.openxmlformats.org/officeDocument/2006/relationships/tags" Target="../tags/tag6.xml"/><Relationship Id="rId9" Type="http://schemas.openxmlformats.org/officeDocument/2006/relationships/image" Target="../media/image3.jpg"/><Relationship Id="rId1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1BAC4958-6E66-42EA-A2CB-F63EE4FABEFD}"/>
              </a:ext>
            </a:extLst>
          </p:cNvPr>
          <p:cNvPicPr>
            <a:picLocks noChangeAspect="1"/>
          </p:cNvPicPr>
          <p:nvPr/>
        </p:nvPicPr>
        <p:blipFill>
          <a:blip r:embed="rId6"/>
          <a:stretch>
            <a:fillRect/>
          </a:stretch>
        </p:blipFill>
        <p:spPr>
          <a:xfrm>
            <a:off x="5845752" y="175405"/>
            <a:ext cx="2554823" cy="1512557"/>
          </a:xfrm>
          <a:prstGeom prst="rect">
            <a:avLst/>
          </a:prstGeom>
        </p:spPr>
      </p:pic>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2"/>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3"/>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5396523" y="1940754"/>
            <a:ext cx="33031936" cy="1772211"/>
          </a:xfrm>
          <a:prstGeom prst="rect">
            <a:avLst/>
          </a:prstGeom>
          <a:solidFill>
            <a:schemeClr val="tx1">
              <a:lumMod val="85000"/>
              <a:lumOff val="15000"/>
            </a:schemeClr>
          </a:solidFill>
          <a:ln>
            <a:noFill/>
          </a:ln>
          <a:effectLst/>
        </p:spPr>
        <p:txBody>
          <a:bodyPr lIns="104503" tIns="104503" rIns="104503" bIns="104503" anchor="t"/>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 sz="2800" b="1" dirty="0">
                <a:solidFill>
                  <a:schemeClr val="bg1"/>
                </a:solidFill>
                <a:latin typeface="Arial"/>
                <a:cs typeface="Arial"/>
              </a:rPr>
              <a:t>Sowmya </a:t>
            </a:r>
            <a:r>
              <a:rPr lang="en" sz="2800" b="1" dirty="0" err="1">
                <a:solidFill>
                  <a:schemeClr val="bg1"/>
                </a:solidFill>
                <a:latin typeface="Arial"/>
                <a:cs typeface="Arial"/>
              </a:rPr>
              <a:t>Bhatraju</a:t>
            </a:r>
            <a:r>
              <a:rPr lang="en" sz="2800" b="1" dirty="0">
                <a:solidFill>
                  <a:schemeClr val="bg1"/>
                </a:solidFill>
                <a:latin typeface="Arial"/>
                <a:cs typeface="Arial"/>
              </a:rPr>
              <a:t>, Pavan Ghantasala, Yu Lin Tai, Ashutosh Porwal, </a:t>
            </a:r>
            <a:r>
              <a:rPr lang="en-IN" sz="2800" b="1" dirty="0">
                <a:solidFill>
                  <a:schemeClr val="bg1"/>
                </a:solidFill>
                <a:latin typeface="Arial"/>
                <a:cs typeface="Arial"/>
              </a:rPr>
              <a:t>Swati Srivastava, </a:t>
            </a:r>
            <a:r>
              <a:rPr lang="en" sz="2800" b="1" dirty="0">
                <a:solidFill>
                  <a:schemeClr val="bg1"/>
                </a:solidFill>
                <a:latin typeface="Arial"/>
                <a:cs typeface="Arial"/>
              </a:rPr>
              <a:t>Vineet Suhas Soni</a:t>
            </a:r>
            <a:r>
              <a:rPr lang="en-IN" sz="2800" b="1">
                <a:solidFill>
                  <a:schemeClr val="bg1"/>
                </a:solidFill>
                <a:latin typeface="Arial"/>
                <a:cs typeface="Arial"/>
              </a:rPr>
              <a:t>, Yang Wang</a:t>
            </a:r>
            <a:endParaRPr lang="en-IN" sz="2800">
              <a:solidFill>
                <a:schemeClr val="bg1"/>
              </a:solidFill>
              <a:latin typeface="Times"/>
              <a:cs typeface="Times"/>
            </a:endParaRPr>
          </a:p>
          <a:p>
            <a:pPr algn="ctr">
              <a:spcBef>
                <a:spcPct val="20000"/>
              </a:spcBef>
            </a:pPr>
            <a:r>
              <a:rPr lang="en-IN" sz="2800" dirty="0">
                <a:solidFill>
                  <a:schemeClr val="bg1"/>
                </a:solidFill>
                <a:latin typeface="Arial" panose="020B0604020202020204" pitchFamily="34" charset="0"/>
                <a:cs typeface="Arial" panose="020B0604020202020204" pitchFamily="34" charset="0"/>
              </a:rPr>
              <a:t>Purdue University, Krannert School of Management</a:t>
            </a:r>
          </a:p>
          <a:p>
            <a:pPr algn="ctr">
              <a:spcBef>
                <a:spcPct val="20000"/>
              </a:spcBef>
            </a:pPr>
            <a:r>
              <a:rPr lang="en-IN" sz="2800">
                <a:solidFill>
                  <a:schemeClr val="bg1"/>
                </a:solidFill>
                <a:latin typeface="Arial"/>
                <a:cs typeface="Arial"/>
              </a:rPr>
              <a:t>sbhatraj@purdue.edu</a:t>
            </a:r>
            <a:r>
              <a:rPr lang="en-IN" sz="2800" dirty="0">
                <a:solidFill>
                  <a:schemeClr val="bg1"/>
                </a:solidFill>
                <a:latin typeface="Arial"/>
                <a:cs typeface="Arial"/>
              </a:rPr>
              <a:t>; </a:t>
            </a:r>
            <a:r>
              <a:rPr lang="en-IN" sz="2800">
                <a:solidFill>
                  <a:schemeClr val="bg1"/>
                </a:solidFill>
                <a:latin typeface="Arial"/>
                <a:cs typeface="Arial"/>
              </a:rPr>
              <a:t>nghantas@purdue.edu</a:t>
            </a:r>
            <a:r>
              <a:rPr lang="en-IN" sz="2800" dirty="0">
                <a:solidFill>
                  <a:schemeClr val="bg1"/>
                </a:solidFill>
                <a:latin typeface="Arial"/>
                <a:cs typeface="Arial"/>
              </a:rPr>
              <a:t>; </a:t>
            </a:r>
            <a:r>
              <a:rPr lang="en-IN" sz="2800">
                <a:solidFill>
                  <a:schemeClr val="bg1"/>
                </a:solidFill>
                <a:latin typeface="Arial"/>
                <a:cs typeface="Arial"/>
              </a:rPr>
              <a:t>tai21@purdue.edu</a:t>
            </a:r>
            <a:r>
              <a:rPr lang="en-IN" sz="2800" dirty="0">
                <a:solidFill>
                  <a:schemeClr val="bg1"/>
                </a:solidFill>
                <a:latin typeface="Arial"/>
                <a:cs typeface="Arial"/>
              </a:rPr>
              <a:t>; </a:t>
            </a:r>
            <a:r>
              <a:rPr lang="en-IN" sz="2800">
                <a:solidFill>
                  <a:schemeClr val="bg1"/>
                </a:solidFill>
                <a:latin typeface="Arial"/>
                <a:cs typeface="Arial"/>
              </a:rPr>
              <a:t>porwal@purdue.edu</a:t>
            </a:r>
            <a:r>
              <a:rPr lang="en-IN" sz="2800" dirty="0">
                <a:solidFill>
                  <a:schemeClr val="bg1"/>
                </a:solidFill>
                <a:latin typeface="Arial"/>
                <a:cs typeface="Arial"/>
              </a:rPr>
              <a:t>; </a:t>
            </a:r>
            <a:r>
              <a:rPr lang="en-IN" sz="2800">
                <a:solidFill>
                  <a:schemeClr val="bg1"/>
                </a:solidFill>
                <a:latin typeface="Arial"/>
                <a:cs typeface="Arial"/>
              </a:rPr>
              <a:t>srivas98@purdue.edu</a:t>
            </a:r>
            <a:r>
              <a:rPr lang="en-IN" sz="2800" dirty="0">
                <a:solidFill>
                  <a:schemeClr val="bg1"/>
                </a:solidFill>
                <a:latin typeface="Arial"/>
                <a:cs typeface="Arial"/>
              </a:rPr>
              <a:t>; </a:t>
            </a:r>
            <a:r>
              <a:rPr lang="en-IN" sz="2800">
                <a:solidFill>
                  <a:schemeClr val="bg1"/>
                </a:solidFill>
                <a:latin typeface="Arial"/>
                <a:cs typeface="Arial"/>
              </a:rPr>
              <a:t>vsoni@purdue.edu</a:t>
            </a:r>
            <a:r>
              <a:rPr lang="en-IN" sz="2800" dirty="0">
                <a:solidFill>
                  <a:schemeClr val="bg1"/>
                </a:solidFill>
                <a:latin typeface="Arial"/>
                <a:cs typeface="Arial"/>
              </a:rPr>
              <a:t>; </a:t>
            </a:r>
            <a:r>
              <a:rPr lang="en-IN" sz="2800">
                <a:solidFill>
                  <a:schemeClr val="bg1"/>
                </a:solidFill>
                <a:latin typeface="Arial"/>
                <a:cs typeface="Arial"/>
              </a:rPr>
              <a:t>yangwang@purdue.edu</a:t>
            </a:r>
            <a:endParaRPr lang="en-IN" altLang="en-US" sz="2800">
              <a:solidFill>
                <a:schemeClr val="bg1"/>
              </a:solidFill>
              <a:latin typeface="Arial"/>
              <a:cs typeface="Arial"/>
            </a:endParaRPr>
          </a:p>
        </p:txBody>
      </p:sp>
      <p:sp>
        <p:nvSpPr>
          <p:cNvPr id="2154" name="Rectangle 106"/>
          <p:cNvSpPr>
            <a:spLocks noChangeArrowheads="1"/>
          </p:cNvSpPr>
          <p:nvPr/>
        </p:nvSpPr>
        <p:spPr bwMode="auto">
          <a:xfrm>
            <a:off x="5752992" y="4449653"/>
            <a:ext cx="10625531" cy="372358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IN" sz="2200" spc="10" dirty="0">
                <a:latin typeface="Times New Roman"/>
                <a:cs typeface="Times"/>
              </a:rPr>
              <a:t>The research is intended to improve inventory management and assortment planning of a national auto-parts dealer through reliable and efficient sales forecasting. Exploratory data analysis was performed on three categories of data- batteries, brakes, and filters, for the past two years at a unique SKU-Store combination. High-performance computing was performed using Bell Cluster and </a:t>
            </a:r>
            <a:r>
              <a:rPr lang="en-IN" sz="2200" spc="10" dirty="0" err="1">
                <a:latin typeface="Times New Roman"/>
                <a:cs typeface="Times"/>
              </a:rPr>
              <a:t>Dask</a:t>
            </a:r>
            <a:r>
              <a:rPr lang="en-IN" sz="2200" spc="10" dirty="0">
                <a:latin typeface="Times New Roman"/>
                <a:cs typeface="Times"/>
              </a:rPr>
              <a:t> machine learning libraries. Several feature engineering experiments, PCA analyses, etc. were carried out to build robust models such as linear regression, lasso regression, and OLS. The final regression model selected has the highest adjusted R-square and least mean square error, which were the two metrics defined for model selection. This model had the highest interpretability and lowest run time.</a:t>
            </a:r>
            <a:r>
              <a:rPr lang="en-US" sz="2200" spc="10" dirty="0">
                <a:latin typeface="Times New Roman"/>
                <a:cs typeface="Times"/>
              </a:rPr>
              <a:t> </a:t>
            </a:r>
            <a:endParaRPr lang="en-US" sz="2200" dirty="0">
              <a:latin typeface="Times New Roman"/>
              <a:cs typeface="Times"/>
            </a:endParaRPr>
          </a:p>
        </p:txBody>
      </p:sp>
      <p:sp>
        <p:nvSpPr>
          <p:cNvPr id="5" name="Rectangle 4">
            <a:extLst>
              <a:ext uri="{FF2B5EF4-FFF2-40B4-BE49-F238E27FC236}">
                <a16:creationId xmlns:a16="http://schemas.microsoft.com/office/drawing/2014/main" id="{097144E4-DACB-4626-A9DF-3A010B6A1502}"/>
              </a:ext>
            </a:extLst>
          </p:cNvPr>
          <p:cNvSpPr/>
          <p:nvPr/>
        </p:nvSpPr>
        <p:spPr>
          <a:xfrm>
            <a:off x="6573846" y="4110764"/>
            <a:ext cx="2231486" cy="492443"/>
          </a:xfrm>
          <a:prstGeom prst="rect">
            <a:avLst/>
          </a:prstGeom>
        </p:spPr>
        <p:txBody>
          <a:bodyPr wrap="square" lIns="91440" tIns="45720" rIns="91440" bIns="45720" anchor="t">
            <a:spAutoFit/>
          </a:bodyPr>
          <a:lstStyle/>
          <a:p>
            <a:r>
              <a:rPr lang="en-US" altLang="en-US" sz="2600" b="1" dirty="0">
                <a:latin typeface="Arial"/>
                <a:cs typeface="Arial"/>
              </a:rPr>
              <a:t>ABSTRACT</a:t>
            </a:r>
            <a:endParaRPr lang="en-US" sz="2600" b="1" dirty="0">
              <a:latin typeface="Arial"/>
              <a:cs typeface="Arial"/>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5851171"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9144768" y="4379755"/>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6521730" y="8213369"/>
            <a:ext cx="3348471" cy="492443"/>
          </a:xfrm>
          <a:prstGeom prst="rect">
            <a:avLst/>
          </a:prstGeom>
        </p:spPr>
        <p:txBody>
          <a:bodyPr wrap="square" lIns="91440" tIns="45720" rIns="91440" bIns="45720" anchor="t">
            <a:spAutoFit/>
          </a:bodyPr>
          <a:lstStyle/>
          <a:p>
            <a:r>
              <a:rPr lang="en-US" altLang="en-US" sz="2600" b="1" dirty="0">
                <a:latin typeface="Arial"/>
                <a:cs typeface="Arial"/>
              </a:rPr>
              <a:t>INTRODUCTION</a:t>
            </a:r>
            <a:endParaRPr lang="en-US" sz="2600" b="1" dirty="0">
              <a:latin typeface="Arial"/>
              <a:cs typeface="Arial"/>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5851171" y="821173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p:cNvCxnSpPr>
          <p:nvPr/>
        </p:nvCxnSpPr>
        <p:spPr bwMode="auto">
          <a:xfrm>
            <a:off x="9870200" y="8474515"/>
            <a:ext cx="6373596" cy="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a:extLst>
              <a:ext uri="{FF2B5EF4-FFF2-40B4-BE49-F238E27FC236}">
                <a16:creationId xmlns:a16="http://schemas.microsoft.com/office/drawing/2014/main" id="{5B411F13-1648-40BE-94CD-0A5AA4C4324D}"/>
              </a:ext>
            </a:extLst>
          </p:cNvPr>
          <p:cNvSpPr/>
          <p:nvPr/>
        </p:nvSpPr>
        <p:spPr>
          <a:xfrm>
            <a:off x="6409795" y="15799012"/>
            <a:ext cx="6015472" cy="492443"/>
          </a:xfrm>
          <a:prstGeom prst="rect">
            <a:avLst/>
          </a:prstGeom>
        </p:spPr>
        <p:txBody>
          <a:bodyPr wrap="square" lIns="91440" tIns="45720" rIns="91440" bIns="45720" anchor="t">
            <a:spAutoFit/>
          </a:bodyPr>
          <a:lstStyle/>
          <a:p>
            <a:r>
              <a:rPr lang="en-US" sz="2600" b="1" dirty="0">
                <a:latin typeface="Arial"/>
                <a:cs typeface="Arial"/>
              </a:rPr>
              <a:t>LITERATURE REVIEW</a:t>
            </a: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5396524" y="3710715"/>
            <a:ext cx="33031937" cy="165951"/>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7598771" y="4151019"/>
            <a:ext cx="3074353" cy="492443"/>
          </a:xfrm>
          <a:prstGeom prst="rect">
            <a:avLst/>
          </a:prstGeom>
        </p:spPr>
        <p:txBody>
          <a:bodyPr wrap="square" lIns="91440" tIns="45720" rIns="91440" bIns="45720" anchor="t">
            <a:spAutoFit/>
          </a:bodyPr>
          <a:lstStyle/>
          <a:p>
            <a:r>
              <a:rPr lang="en-US" sz="2600" b="1" dirty="0">
                <a:latin typeface="Arial"/>
                <a:cs typeface="Arial"/>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6946675"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21054647" y="4412629"/>
            <a:ext cx="56387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27793950" y="4195915"/>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28784286" y="4124176"/>
            <a:ext cx="5035182" cy="892552"/>
          </a:xfrm>
          <a:prstGeom prst="rect">
            <a:avLst/>
          </a:prstGeom>
        </p:spPr>
        <p:txBody>
          <a:bodyPr wrap="square" lIns="91440" tIns="45720" rIns="91440" bIns="45720" anchor="t">
            <a:spAutoFit/>
          </a:bodyPr>
          <a:lstStyle/>
          <a:p>
            <a:r>
              <a:rPr lang="en-US" sz="2600" b="1" dirty="0">
                <a:latin typeface="Arial"/>
                <a:cs typeface="Arial"/>
              </a:rPr>
              <a:t>STATISTICAL RESULTS</a:t>
            </a:r>
            <a:endParaRPr lang="en-US" sz="2600">
              <a:latin typeface="Times"/>
              <a:cs typeface="Times"/>
            </a:endParaRPr>
          </a:p>
          <a:p>
            <a:endParaRPr lang="en-US" sz="2600" b="1"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1E59A166-603F-4DA5-989D-07DE2998A334}"/>
              </a:ext>
            </a:extLst>
          </p:cNvPr>
          <p:cNvSpPr/>
          <p:nvPr/>
        </p:nvSpPr>
        <p:spPr bwMode="auto">
          <a:xfrm>
            <a:off x="27973410" y="420073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97CA9C7E-75CF-4B4F-B23D-B9E6F06A8820}"/>
              </a:ext>
            </a:extLst>
          </p:cNvPr>
          <p:cNvSpPr/>
          <p:nvPr/>
        </p:nvSpPr>
        <p:spPr>
          <a:xfrm>
            <a:off x="28513041" y="15264960"/>
            <a:ext cx="9151303" cy="492443"/>
          </a:xfrm>
          <a:prstGeom prst="rect">
            <a:avLst/>
          </a:prstGeom>
        </p:spPr>
        <p:txBody>
          <a:bodyPr wrap="square" lIns="91440" tIns="45720" rIns="91440" bIns="45720" anchor="t">
            <a:spAutoFit/>
          </a:bodyPr>
          <a:lstStyle/>
          <a:p>
            <a:r>
              <a:rPr lang="en-US" sz="2600" b="1" dirty="0">
                <a:latin typeface="Arial"/>
                <a:cs typeface="Arial"/>
              </a:rPr>
              <a:t>EXPECTED BUSINESS IMPACT</a:t>
            </a:r>
            <a:endParaRPr lang="en-US" sz="2600" b="1">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27943388" y="15224201"/>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Arial" panose="020B0604020202020204" pitchFamily="34" charset="0"/>
              <a:cs typeface="Arial" panose="020B0604020202020204" pitchFamily="34" charset="0"/>
            </a:endParaRPr>
          </a:p>
        </p:txBody>
      </p:sp>
      <p:sp>
        <p:nvSpPr>
          <p:cNvPr id="71" name="Rectangle 26">
            <a:extLst>
              <a:ext uri="{FF2B5EF4-FFF2-40B4-BE49-F238E27FC236}">
                <a16:creationId xmlns:a16="http://schemas.microsoft.com/office/drawing/2014/main" id="{BB8FA057-B3AE-46DC-B9CE-C9CC4F55AD0F}"/>
              </a:ext>
            </a:extLst>
          </p:cNvPr>
          <p:cNvSpPr>
            <a:spLocks noChangeArrowheads="1"/>
          </p:cNvSpPr>
          <p:nvPr/>
        </p:nvSpPr>
        <p:spPr bwMode="auto">
          <a:xfrm>
            <a:off x="5434664" y="21760585"/>
            <a:ext cx="32996005" cy="228600"/>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IN" sz="1800" baseline="-2500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F2D71D57-9643-470F-AA5E-895459E788AE}"/>
              </a:ext>
            </a:extLst>
          </p:cNvPr>
          <p:cNvGrpSpPr/>
          <p:nvPr/>
        </p:nvGrpSpPr>
        <p:grpSpPr>
          <a:xfrm>
            <a:off x="27975614" y="19539037"/>
            <a:ext cx="10307333" cy="492443"/>
            <a:chOff x="22108947" y="19855425"/>
            <a:chExt cx="10044044" cy="492443"/>
          </a:xfrm>
        </p:grpSpPr>
        <p:sp>
          <p:nvSpPr>
            <p:cNvPr id="83" name="Rectangle 82">
              <a:extLst>
                <a:ext uri="{FF2B5EF4-FFF2-40B4-BE49-F238E27FC236}">
                  <a16:creationId xmlns:a16="http://schemas.microsoft.com/office/drawing/2014/main" id="{9B25FB0D-B9A9-419F-8972-0D336D67093E}"/>
                </a:ext>
              </a:extLst>
            </p:cNvPr>
            <p:cNvSpPr/>
            <p:nvPr/>
          </p:nvSpPr>
          <p:spPr>
            <a:xfrm>
              <a:off x="22816583" y="19855425"/>
              <a:ext cx="4411071" cy="492443"/>
            </a:xfrm>
            <a:prstGeom prst="rect">
              <a:avLst/>
            </a:prstGeom>
          </p:spPr>
          <p:txBody>
            <a:bodyPr wrap="square" lIns="91440" tIns="45720" rIns="91440" bIns="45720" anchor="t">
              <a:spAutoFit/>
            </a:bodyPr>
            <a:lstStyle/>
            <a:p>
              <a:r>
                <a:rPr lang="en-US" sz="2600" b="1" dirty="0">
                  <a:latin typeface="Arial"/>
                  <a:cs typeface="Arial"/>
                </a:rPr>
                <a:t>ACKNOWLEDGEMENTS</a:t>
              </a:r>
            </a:p>
          </p:txBody>
        </p:sp>
        <p:sp>
          <p:nvSpPr>
            <p:cNvPr id="86" name="Rectangle 85">
              <a:extLst>
                <a:ext uri="{FF2B5EF4-FFF2-40B4-BE49-F238E27FC236}">
                  <a16:creationId xmlns:a16="http://schemas.microsoft.com/office/drawing/2014/main" id="{716B8C27-AE07-40B7-9356-7DDDCF331E53}"/>
                </a:ext>
              </a:extLst>
            </p:cNvPr>
            <p:cNvSpPr/>
            <p:nvPr/>
          </p:nvSpPr>
          <p:spPr bwMode="auto">
            <a:xfrm>
              <a:off x="22108947" y="1996009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27453109" y="20121894"/>
              <a:ext cx="469988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6607239" y="4306745"/>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Rectangle 41">
            <a:extLst>
              <a:ext uri="{FF2B5EF4-FFF2-40B4-BE49-F238E27FC236}">
                <a16:creationId xmlns:a16="http://schemas.microsoft.com/office/drawing/2014/main" id="{96F07418-00C8-4943-8B6F-6F530066EE2B}"/>
              </a:ext>
            </a:extLst>
          </p:cNvPr>
          <p:cNvSpPr/>
          <p:nvPr/>
        </p:nvSpPr>
        <p:spPr bwMode="auto">
          <a:xfrm>
            <a:off x="5851171" y="1587482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18095373" y="270077"/>
            <a:ext cx="20286490"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algn="ctr">
              <a:spcBef>
                <a:spcPct val="50000"/>
              </a:spcBef>
            </a:pPr>
            <a:r>
              <a:rPr lang="en-IN" sz="6000" b="1" dirty="0">
                <a:solidFill>
                  <a:srgbClr val="8E6F3E"/>
                </a:solidFill>
                <a:latin typeface="Arial"/>
                <a:cs typeface="Arial"/>
              </a:rPr>
              <a:t>Sales Forecasting Using High-Performance Computing</a:t>
            </a:r>
            <a:r>
              <a:rPr lang="en-US" sz="6000" dirty="0">
                <a:latin typeface="Times"/>
                <a:cs typeface="Times"/>
              </a:rPr>
              <a:t> </a:t>
            </a:r>
            <a:endParaRPr lang="en-US" altLang="en-US" sz="6000" b="1">
              <a:solidFill>
                <a:srgbClr val="8E6F3E"/>
              </a:solidFill>
              <a:latin typeface="Arial"/>
              <a:cs typeface="Arial"/>
            </a:endParaRPr>
          </a:p>
        </p:txBody>
      </p:sp>
      <p:cxnSp>
        <p:nvCxnSpPr>
          <p:cNvPr id="74" name="Straight Connector 73">
            <a:extLst>
              <a:ext uri="{FF2B5EF4-FFF2-40B4-BE49-F238E27FC236}">
                <a16:creationId xmlns:a16="http://schemas.microsoft.com/office/drawing/2014/main" id="{1226D37E-9553-454B-A4AB-E33CD7436CAA}"/>
              </a:ext>
            </a:extLst>
          </p:cNvPr>
          <p:cNvCxnSpPr>
            <a:cxnSpLocks/>
          </p:cNvCxnSpPr>
          <p:nvPr/>
        </p:nvCxnSpPr>
        <p:spPr bwMode="auto">
          <a:xfrm flipV="1">
            <a:off x="33819469" y="4366736"/>
            <a:ext cx="4131239"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C34FB5E3-C76A-4466-A368-557276DF27F2}"/>
              </a:ext>
            </a:extLst>
          </p:cNvPr>
          <p:cNvSpPr/>
          <p:nvPr/>
        </p:nvSpPr>
        <p:spPr>
          <a:xfrm>
            <a:off x="18957892" y="10386386"/>
            <a:ext cx="5911447" cy="430887"/>
          </a:xfrm>
          <a:prstGeom prst="rect">
            <a:avLst/>
          </a:prstGeom>
        </p:spPr>
        <p:txBody>
          <a:bodyPr wrap="square" lIns="91440" tIns="45720" rIns="91440" bIns="45720" anchor="t">
            <a:spAutoFit/>
          </a:bodyPr>
          <a:lstStyle/>
          <a:p>
            <a:pPr algn="ctr"/>
            <a:r>
              <a:rPr lang="en-US" sz="2200" spc="10" dirty="0">
                <a:latin typeface="Times New Roman"/>
                <a:cs typeface="Times"/>
              </a:rPr>
              <a:t>Fig 2. Study Design</a:t>
            </a:r>
          </a:p>
        </p:txBody>
      </p:sp>
      <p:sp>
        <p:nvSpPr>
          <p:cNvPr id="12" name="TextBox 11">
            <a:extLst>
              <a:ext uri="{FF2B5EF4-FFF2-40B4-BE49-F238E27FC236}">
                <a16:creationId xmlns:a16="http://schemas.microsoft.com/office/drawing/2014/main" id="{E7C49F5A-4518-4C56-8A32-89B3D0E1D515}"/>
              </a:ext>
            </a:extLst>
          </p:cNvPr>
          <p:cNvSpPr txBox="1"/>
          <p:nvPr/>
        </p:nvSpPr>
        <p:spPr>
          <a:xfrm>
            <a:off x="5779174" y="13932694"/>
            <a:ext cx="10328046" cy="1785104"/>
          </a:xfrm>
          <a:prstGeom prst="rect">
            <a:avLst/>
          </a:prstGeom>
          <a:noFill/>
        </p:spPr>
        <p:txBody>
          <a:bodyPr wrap="square" lIns="91440" tIns="45720" rIns="91440" bIns="45720" rtlCol="0" anchor="t">
            <a:spAutoFit/>
          </a:bodyPr>
          <a:lstStyle/>
          <a:p>
            <a:pPr algn="just">
              <a:buFont typeface="Arial" panose="020B0604020202020204" pitchFamily="34" charset="0"/>
              <a:buChar char="•"/>
            </a:pPr>
            <a:r>
              <a:rPr lang="en" sz="2200" spc="10" dirty="0">
                <a:latin typeface="Times New Roman"/>
                <a:cs typeface="Times"/>
              </a:rPr>
              <a:t>What is the way to forecast store sales using different regression techniques including interaction terms and feature engineering ? </a:t>
            </a:r>
            <a:endParaRPr lang="en-US" sz="2200" spc="10">
              <a:latin typeface="Times New Roman"/>
              <a:cs typeface="Times"/>
            </a:endParaRPr>
          </a:p>
          <a:p>
            <a:pPr algn="just">
              <a:buFont typeface="Arial" panose="020B0604020202020204" pitchFamily="34" charset="0"/>
              <a:buChar char="•"/>
            </a:pPr>
            <a:r>
              <a:rPr lang="en" sz="2200" spc="10" dirty="0">
                <a:latin typeface="Times New Roman"/>
                <a:cs typeface="Times"/>
              </a:rPr>
              <a:t>Can you show how using HPC capabilities would allow one to eventually find an optimal robust linear model that performs much better than trying a generic backward selection type approach?</a:t>
            </a:r>
          </a:p>
        </p:txBody>
      </p:sp>
      <p:sp>
        <p:nvSpPr>
          <p:cNvPr id="3" name="Rectangle 2">
            <a:extLst>
              <a:ext uri="{FF2B5EF4-FFF2-40B4-BE49-F238E27FC236}">
                <a16:creationId xmlns:a16="http://schemas.microsoft.com/office/drawing/2014/main" id="{393941FE-9D82-4634-B879-C7ACD765753F}"/>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21827619" y="1065603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Rectangle 14">
            <a:extLst>
              <a:ext uri="{FF2B5EF4-FFF2-40B4-BE49-F238E27FC236}">
                <a16:creationId xmlns:a16="http://schemas.microsoft.com/office/drawing/2014/main" id="{343CE61A-904B-488A-A575-BB0E151AF271}"/>
              </a:ext>
            </a:extLst>
          </p:cNvPr>
          <p:cNvSpPr/>
          <p:nvPr/>
        </p:nvSpPr>
        <p:spPr>
          <a:xfrm>
            <a:off x="5775132" y="16323094"/>
            <a:ext cx="10600784" cy="5506572"/>
          </a:xfrm>
          <a:prstGeom prst="rect">
            <a:avLst/>
          </a:prstGeom>
        </p:spPr>
        <p:txBody>
          <a:bodyPr wrap="square" lIns="91440" tIns="45720" rIns="91440" bIns="45720" anchor="t">
            <a:spAutoFit/>
          </a:bodyPr>
          <a:lstStyle/>
          <a:p>
            <a:pPr algn="just"/>
            <a:r>
              <a:rPr lang="en-IN" sz="2200" spc="10" dirty="0">
                <a:latin typeface="Times New Roman"/>
                <a:cs typeface="Times"/>
              </a:rPr>
              <a:t>Sales forecasting is the process of predicting the number of sales a firm will generate within a specific timeframe such as a week, month, quarter, or year. Creating a predictive model to forecast sales with high dimensionality issues requires careful consideration so that model computation time is within an acceptable time frame. Multiple variable selection methods, in cases of many explanatory variables, can be combined, and the union of selected variables from those methods can be taken to reduce the risk of eliminating variables having a significant impact on the response variable. PCA can be performed to deal with high dimensionality, but it runs the risk of eliminating some features that might be strong predictors of the dependent variable. A way around this is to categorize variables in broad groups according to their common attributes and run PCA on each group separately to reduce the likelihood of missing out on important predictor variables. Linear Regression has been the optimal choice for sales prediction for practitioners finding the balance between interpretability, time complexity, and accuracy. It is easy, simple, and feasible to fit at SKU level high dimensional space, with approaches to non-linearities such as multiplicative interactions log and exponential transformations applied to variable space.</a:t>
            </a:r>
          </a:p>
          <a:p>
            <a:pPr algn="just">
              <a:lnSpc>
                <a:spcPct val="107000"/>
              </a:lnSpc>
              <a:spcBef>
                <a:spcPts val="0"/>
              </a:spcBef>
              <a:spcAft>
                <a:spcPts val="800"/>
              </a:spcAft>
            </a:pPr>
            <a:endParaRPr lang="en-US" sz="2200" dirty="0">
              <a:latin typeface="Arial"/>
              <a:cs typeface="Arial"/>
            </a:endParaRPr>
          </a:p>
        </p:txBody>
      </p:sp>
      <p:cxnSp>
        <p:nvCxnSpPr>
          <p:cNvPr id="181" name="Straight Connector 180">
            <a:extLst>
              <a:ext uri="{FF2B5EF4-FFF2-40B4-BE49-F238E27FC236}">
                <a16:creationId xmlns:a16="http://schemas.microsoft.com/office/drawing/2014/main" id="{7F8D026A-672F-4B41-B4D6-3B45C79B46F6}"/>
              </a:ext>
            </a:extLst>
          </p:cNvPr>
          <p:cNvCxnSpPr/>
          <p:nvPr/>
        </p:nvCxnSpPr>
        <p:spPr bwMode="auto">
          <a:xfrm>
            <a:off x="10868072" y="16068818"/>
            <a:ext cx="532633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63492AC6-4137-416C-80D7-23A7961A3E88}"/>
              </a:ext>
            </a:extLst>
          </p:cNvPr>
          <p:cNvSpPr txBox="1"/>
          <p:nvPr/>
        </p:nvSpPr>
        <p:spPr>
          <a:xfrm>
            <a:off x="28124496" y="15831111"/>
            <a:ext cx="9945296" cy="3848654"/>
          </a:xfrm>
          <a:prstGeom prst="rect">
            <a:avLst/>
          </a:prstGeom>
          <a:noFill/>
        </p:spPr>
        <p:txBody>
          <a:bodyPr wrap="square" lIns="91440" tIns="45720" rIns="91440" bIns="45720" rtlCol="0" anchor="t">
            <a:spAutoFit/>
          </a:bodyPr>
          <a:lstStyle/>
          <a:p>
            <a:pPr algn="just">
              <a:spcBef>
                <a:spcPct val="50000"/>
              </a:spcBef>
            </a:pPr>
            <a:r>
              <a:rPr lang="en-US" altLang="en-US" sz="2200" spc="10" dirty="0">
                <a:latin typeface="Times New Roman"/>
                <a:cs typeface="Times"/>
              </a:rPr>
              <a:t>Through our use of high-performance computing on bell cluster, we were able to perform hundreds of experiments for different models and reached an MAE of &lt;1 with a fairly good adjusted R-square value of &gt;80%. Our model could play a crucial role in creating a strong business impact for the company. Below are the monetary benefits that could be availed through our model:</a:t>
            </a:r>
          </a:p>
          <a:p>
            <a:pPr marL="342900" indent="-342900" algn="just">
              <a:spcBef>
                <a:spcPct val="50000"/>
              </a:spcBef>
              <a:buFont typeface="Arial"/>
              <a:buChar char="•"/>
            </a:pPr>
            <a:r>
              <a:rPr lang="en-US" altLang="en-US" sz="2200" spc="10" dirty="0">
                <a:latin typeface="Times New Roman"/>
                <a:cs typeface="Times"/>
              </a:rPr>
              <a:t>Through percentage decrease of mean absolute error by ~90%, sales could be more accurately predicted. This would further reduce the inventory management costs for the company.</a:t>
            </a:r>
          </a:p>
          <a:p>
            <a:pPr marL="342900" indent="-342900" algn="just">
              <a:spcBef>
                <a:spcPct val="50000"/>
              </a:spcBef>
              <a:buFont typeface="Arial"/>
              <a:buChar char="•"/>
            </a:pPr>
            <a:r>
              <a:rPr lang="en-US" sz="2200" spc="10" dirty="0">
                <a:latin typeface="Times New Roman"/>
                <a:cs typeface="Times New Roman"/>
              </a:rPr>
              <a:t>With model-run time being as low as 2 min, it can provide another cost-saving opportunity</a:t>
            </a:r>
            <a:endParaRPr lang="en-US" dirty="0">
              <a:cs typeface="Times" charset="0"/>
            </a:endParaRPr>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4"/>
            </p:custDataLst>
          </p:nvPr>
        </p:nvSpPr>
        <p:spPr bwMode="auto">
          <a:xfrm>
            <a:off x="5802313" y="229567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sp>
        <p:nvSpPr>
          <p:cNvPr id="201" name="Rectangle 200">
            <a:extLst>
              <a:ext uri="{FF2B5EF4-FFF2-40B4-BE49-F238E27FC236}">
                <a16:creationId xmlns:a16="http://schemas.microsoft.com/office/drawing/2014/main" id="{F2DD2CFB-B1F6-401D-B0ED-2A31E4481691}"/>
              </a:ext>
            </a:extLst>
          </p:cNvPr>
          <p:cNvSpPr/>
          <p:nvPr/>
        </p:nvSpPr>
        <p:spPr>
          <a:xfrm>
            <a:off x="17523133" y="11079256"/>
            <a:ext cx="5911921" cy="492443"/>
          </a:xfrm>
          <a:prstGeom prst="rect">
            <a:avLst/>
          </a:prstGeom>
        </p:spPr>
        <p:txBody>
          <a:bodyPr wrap="square" lIns="91440" tIns="45720" rIns="91440" bIns="45720" anchor="t">
            <a:spAutoFit/>
          </a:bodyPr>
          <a:lstStyle/>
          <a:p>
            <a:r>
              <a:rPr lang="en-US" sz="2600" b="1" dirty="0">
                <a:latin typeface="Arial"/>
                <a:cs typeface="Arial"/>
              </a:rPr>
              <a:t>EXPLORATORY DATA ANALYSIS</a:t>
            </a:r>
            <a:endParaRPr lang="en-US" sz="2600">
              <a:cs typeface="Times"/>
            </a:endParaRPr>
          </a:p>
        </p:txBody>
      </p:sp>
      <p:sp>
        <p:nvSpPr>
          <p:cNvPr id="204" name="Rectangle 203">
            <a:extLst>
              <a:ext uri="{FF2B5EF4-FFF2-40B4-BE49-F238E27FC236}">
                <a16:creationId xmlns:a16="http://schemas.microsoft.com/office/drawing/2014/main" id="{981B139B-84BD-429E-A87A-4774B38773D2}"/>
              </a:ext>
            </a:extLst>
          </p:cNvPr>
          <p:cNvSpPr/>
          <p:nvPr/>
        </p:nvSpPr>
        <p:spPr bwMode="auto">
          <a:xfrm>
            <a:off x="16871037" y="1109086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a:p>
        </p:txBody>
      </p:sp>
      <p:cxnSp>
        <p:nvCxnSpPr>
          <p:cNvPr id="205" name="Straight Connector 204">
            <a:extLst>
              <a:ext uri="{FF2B5EF4-FFF2-40B4-BE49-F238E27FC236}">
                <a16:creationId xmlns:a16="http://schemas.microsoft.com/office/drawing/2014/main" id="{59DC9773-E706-4942-A186-2BA06992AE3A}"/>
              </a:ext>
            </a:extLst>
          </p:cNvPr>
          <p:cNvCxnSpPr/>
          <p:nvPr/>
        </p:nvCxnSpPr>
        <p:spPr bwMode="auto">
          <a:xfrm flipV="1">
            <a:off x="23237319" y="11321816"/>
            <a:ext cx="4332960"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5438C375-39A2-42F9-AB7D-3508FED1BF7E}"/>
              </a:ext>
            </a:extLst>
          </p:cNvPr>
          <p:cNvSpPr/>
          <p:nvPr/>
        </p:nvSpPr>
        <p:spPr>
          <a:xfrm>
            <a:off x="17468852" y="15478436"/>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3. D</a:t>
            </a:r>
            <a:r>
              <a:rPr lang="en-US" sz="2000" dirty="0">
                <a:latin typeface="Times New Roman"/>
                <a:ea typeface="Arial" charset="0"/>
                <a:cs typeface="Times"/>
              </a:rPr>
              <a:t>istribution of the previous year total gross sales at store level</a:t>
            </a:r>
          </a:p>
        </p:txBody>
      </p:sp>
      <p:sp>
        <p:nvSpPr>
          <p:cNvPr id="209" name="TextBox 208">
            <a:extLst>
              <a:ext uri="{FF2B5EF4-FFF2-40B4-BE49-F238E27FC236}">
                <a16:creationId xmlns:a16="http://schemas.microsoft.com/office/drawing/2014/main" id="{231A1C19-1905-4CA9-9C87-3C1F35D48A04}"/>
              </a:ext>
            </a:extLst>
          </p:cNvPr>
          <p:cNvSpPr txBox="1"/>
          <p:nvPr/>
        </p:nvSpPr>
        <p:spPr>
          <a:xfrm>
            <a:off x="28235774" y="20224471"/>
            <a:ext cx="8179747" cy="1107996"/>
          </a:xfrm>
          <a:prstGeom prst="rect">
            <a:avLst/>
          </a:prstGeom>
          <a:noFill/>
        </p:spPr>
        <p:txBody>
          <a:bodyPr wrap="square" lIns="91440" tIns="45720" rIns="91440" bIns="45720" anchor="t">
            <a:spAutoFit/>
          </a:bodyPr>
          <a:lstStyle/>
          <a:p>
            <a:pPr algn="just"/>
            <a:r>
              <a:rPr lang="en-IN" sz="2200" spc="10" dirty="0">
                <a:latin typeface="Times New Roman"/>
                <a:cs typeface="Times New Roman"/>
              </a:rPr>
              <a:t>We would like to thank the </a:t>
            </a:r>
            <a:r>
              <a:rPr lang="en-IN" sz="2200" spc="10" dirty="0">
                <a:latin typeface="Times"/>
                <a:cs typeface="Times"/>
              </a:rPr>
              <a:t>Data Science Team of the company </a:t>
            </a:r>
            <a:endParaRPr lang="en-US"/>
          </a:p>
          <a:p>
            <a:pPr algn="just"/>
            <a:r>
              <a:rPr lang="en-IN" sz="2200" spc="10" dirty="0">
                <a:latin typeface="Times"/>
                <a:cs typeface="Times"/>
              </a:rPr>
              <a:t>we worked with and </a:t>
            </a:r>
            <a:r>
              <a:rPr lang="en-IN" sz="2200" spc="10" dirty="0">
                <a:latin typeface="Times New Roman"/>
                <a:cs typeface="Times New Roman"/>
              </a:rPr>
              <a:t>Professor Yang Wang for her guidance and support on this project.</a:t>
            </a:r>
            <a:endParaRPr lang="en-IN"/>
          </a:p>
        </p:txBody>
      </p:sp>
      <p:sp>
        <p:nvSpPr>
          <p:cNvPr id="2074" name="Rectangle 26"/>
          <p:cNvSpPr>
            <a:spLocks noChangeArrowheads="1"/>
          </p:cNvSpPr>
          <p:nvPr/>
        </p:nvSpPr>
        <p:spPr bwMode="auto">
          <a:xfrm>
            <a:off x="5396523" y="1732547"/>
            <a:ext cx="33019003" cy="210457"/>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09337" y="220722"/>
            <a:ext cx="12586036" cy="1348187"/>
          </a:xfrm>
          <a:prstGeom prst="rect">
            <a:avLst/>
          </a:prstGeom>
        </p:spPr>
      </p:pic>
      <p:sp>
        <p:nvSpPr>
          <p:cNvPr id="104" name="Rectangle 103">
            <a:extLst>
              <a:ext uri="{FF2B5EF4-FFF2-40B4-BE49-F238E27FC236}">
                <a16:creationId xmlns:a16="http://schemas.microsoft.com/office/drawing/2014/main" id="{2BCA9E67-8E04-44DC-A24B-E8557BE6C17E}"/>
              </a:ext>
            </a:extLst>
          </p:cNvPr>
          <p:cNvSpPr/>
          <p:nvPr/>
        </p:nvSpPr>
        <p:spPr>
          <a:xfrm>
            <a:off x="5706988" y="13202597"/>
            <a:ext cx="10845397" cy="430887"/>
          </a:xfrm>
          <a:prstGeom prst="rect">
            <a:avLst/>
          </a:prstGeom>
        </p:spPr>
        <p:txBody>
          <a:bodyPr wrap="square" lIns="91440" tIns="45720" rIns="91440" bIns="45720" anchor="t">
            <a:spAutoFit/>
          </a:bodyPr>
          <a:lstStyle/>
          <a:p>
            <a:pPr algn="ctr"/>
            <a:r>
              <a:rPr lang="en-US" sz="2200" spc="10" dirty="0">
                <a:latin typeface="Times New Roman"/>
                <a:cs typeface="Times"/>
              </a:rPr>
              <a:t>Fig 1. % of correspondents indicating if there is a high confidence in forecast accuracy</a:t>
            </a:r>
          </a:p>
        </p:txBody>
      </p:sp>
      <p:pic>
        <p:nvPicPr>
          <p:cNvPr id="22" name="Picture 25" descr="Chart&#10;&#10;Description automatically generated">
            <a:extLst>
              <a:ext uri="{FF2B5EF4-FFF2-40B4-BE49-F238E27FC236}">
                <a16:creationId xmlns:a16="http://schemas.microsoft.com/office/drawing/2014/main" id="{A6D167DA-64B2-46E6-9F58-C90F7B687F6F}"/>
              </a:ext>
            </a:extLst>
          </p:cNvPr>
          <p:cNvPicPr>
            <a:picLocks noChangeAspect="1"/>
          </p:cNvPicPr>
          <p:nvPr/>
        </p:nvPicPr>
        <p:blipFill>
          <a:blip r:embed="rId10"/>
          <a:stretch>
            <a:fillRect/>
          </a:stretch>
        </p:blipFill>
        <p:spPr>
          <a:xfrm>
            <a:off x="6110498" y="8886918"/>
            <a:ext cx="10061052" cy="4210025"/>
          </a:xfrm>
          <a:prstGeom prst="rect">
            <a:avLst/>
          </a:prstGeom>
          <a:ln>
            <a:solidFill>
              <a:schemeClr val="tx1"/>
            </a:solidFill>
          </a:ln>
        </p:spPr>
      </p:pic>
      <p:pic>
        <p:nvPicPr>
          <p:cNvPr id="97" name="Picture 96" descr="Chart, box and whisker chart&#10;&#10;Description automatically generated">
            <a:extLst>
              <a:ext uri="{FF2B5EF4-FFF2-40B4-BE49-F238E27FC236}">
                <a16:creationId xmlns:a16="http://schemas.microsoft.com/office/drawing/2014/main" id="{5A9E5080-197C-429C-B5A8-1B5FDF4BA55F}"/>
              </a:ext>
            </a:extLst>
          </p:cNvPr>
          <p:cNvPicPr>
            <a:picLocks noChangeAspect="1"/>
          </p:cNvPicPr>
          <p:nvPr/>
        </p:nvPicPr>
        <p:blipFill rotWithShape="1">
          <a:blip r:embed="rId11"/>
          <a:srcRect l="614" r="614"/>
          <a:stretch/>
        </p:blipFill>
        <p:spPr>
          <a:xfrm>
            <a:off x="16863703" y="11872675"/>
            <a:ext cx="5003628" cy="3403636"/>
          </a:xfrm>
          <a:prstGeom prst="rect">
            <a:avLst/>
          </a:prstGeom>
          <a:ln>
            <a:solidFill>
              <a:schemeClr val="tx1"/>
            </a:solidFill>
          </a:ln>
        </p:spPr>
      </p:pic>
      <p:pic>
        <p:nvPicPr>
          <p:cNvPr id="98" name="Picture 97" descr="Chart, histogram&#10;&#10;Description automatically generated">
            <a:extLst>
              <a:ext uri="{FF2B5EF4-FFF2-40B4-BE49-F238E27FC236}">
                <a16:creationId xmlns:a16="http://schemas.microsoft.com/office/drawing/2014/main" id="{F365FD75-8B31-4238-93A6-4018BB0DFED1}"/>
              </a:ext>
            </a:extLst>
          </p:cNvPr>
          <p:cNvPicPr>
            <a:picLocks noChangeAspect="1"/>
          </p:cNvPicPr>
          <p:nvPr/>
        </p:nvPicPr>
        <p:blipFill rotWithShape="1">
          <a:blip r:embed="rId12"/>
          <a:srcRect l="4025" r="13107" b="369"/>
          <a:stretch/>
        </p:blipFill>
        <p:spPr>
          <a:xfrm>
            <a:off x="22429025" y="11873928"/>
            <a:ext cx="4891675" cy="3402844"/>
          </a:xfrm>
          <a:prstGeom prst="rect">
            <a:avLst/>
          </a:prstGeom>
          <a:ln>
            <a:solidFill>
              <a:schemeClr val="tx1"/>
            </a:solidFill>
          </a:ln>
        </p:spPr>
      </p:pic>
      <p:sp>
        <p:nvSpPr>
          <p:cNvPr id="101" name="Rectangle 100">
            <a:extLst>
              <a:ext uri="{FF2B5EF4-FFF2-40B4-BE49-F238E27FC236}">
                <a16:creationId xmlns:a16="http://schemas.microsoft.com/office/drawing/2014/main" id="{5C1E25A0-E2DC-4E8C-B8FD-0D8930A3BCBD}"/>
              </a:ext>
            </a:extLst>
          </p:cNvPr>
          <p:cNvSpPr/>
          <p:nvPr/>
        </p:nvSpPr>
        <p:spPr>
          <a:xfrm>
            <a:off x="17468852" y="19989545"/>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4. Relationship b/w lifecycle and previous year gross sales for different parts</a:t>
            </a:r>
            <a:endParaRPr lang="en-US" sz="2000" dirty="0">
              <a:latin typeface="Times New Roman"/>
              <a:ea typeface="Arial" charset="0"/>
              <a:cs typeface="Times"/>
            </a:endParaRPr>
          </a:p>
        </p:txBody>
      </p:sp>
      <p:sp>
        <p:nvSpPr>
          <p:cNvPr id="7" name="TextBox 6">
            <a:extLst>
              <a:ext uri="{FF2B5EF4-FFF2-40B4-BE49-F238E27FC236}">
                <a16:creationId xmlns:a16="http://schemas.microsoft.com/office/drawing/2014/main" id="{9E8822D4-6689-4B34-BD0A-6168092D67C2}"/>
              </a:ext>
            </a:extLst>
          </p:cNvPr>
          <p:cNvSpPr txBox="1"/>
          <p:nvPr/>
        </p:nvSpPr>
        <p:spPr>
          <a:xfrm>
            <a:off x="16802100" y="20516850"/>
            <a:ext cx="10858500"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spc="10" dirty="0">
                <a:latin typeface="Times"/>
                <a:cs typeface="Times"/>
              </a:rPr>
              <a:t>The bar chart shows the lifecycle of different part types, with </a:t>
            </a:r>
            <a:r>
              <a:rPr lang="en-US" sz="2200" spc="10">
                <a:latin typeface="Times"/>
                <a:cs typeface="Times"/>
              </a:rPr>
              <a:t>''drive motor battery pack</a:t>
            </a:r>
            <a:r>
              <a:rPr lang="en-US" sz="2200" spc="10" dirty="0">
                <a:latin typeface="Times"/>
                <a:cs typeface="Times"/>
              </a:rPr>
              <a:t>'' having the highest average adjusted lifecycle. From the scatter plot, </a:t>
            </a:r>
            <a:r>
              <a:rPr lang="en-US" sz="2200" spc="10">
                <a:latin typeface="Times"/>
                <a:cs typeface="Times"/>
              </a:rPr>
              <a:t>we could tell that parts classified as “Non PR No EPC” had </a:t>
            </a:r>
            <a:r>
              <a:rPr lang="en-US" sz="2200" spc="10" dirty="0">
                <a:latin typeface="Times"/>
                <a:cs typeface="Times"/>
              </a:rPr>
              <a:t>relatively</a:t>
            </a:r>
            <a:r>
              <a:rPr lang="en-US" sz="2200" spc="10">
                <a:latin typeface="Times"/>
                <a:cs typeface="Times"/>
              </a:rPr>
              <a:t> </a:t>
            </a:r>
            <a:r>
              <a:rPr lang="en-US" sz="2200" spc="10" dirty="0">
                <a:latin typeface="Times"/>
                <a:cs typeface="Times"/>
              </a:rPr>
              <a:t>lower sales</a:t>
            </a:r>
            <a:r>
              <a:rPr lang="en-US" sz="2200" spc="10">
                <a:latin typeface="Times"/>
                <a:cs typeface="Times"/>
              </a:rPr>
              <a:t> compared to part </a:t>
            </a:r>
            <a:r>
              <a:rPr lang="en-US" sz="2200" spc="10" dirty="0">
                <a:latin typeface="Times"/>
                <a:cs typeface="Times"/>
              </a:rPr>
              <a:t>with</a:t>
            </a:r>
            <a:r>
              <a:rPr lang="en-US" sz="2200" spc="10">
                <a:latin typeface="Times"/>
                <a:cs typeface="Times"/>
              </a:rPr>
              <a:t> EPC.</a:t>
            </a:r>
          </a:p>
          <a:p>
            <a:r>
              <a:rPr lang="en-US" sz="2200" spc="10" dirty="0">
                <a:latin typeface="Times"/>
                <a:cs typeface="Times"/>
              </a:rPr>
              <a:t>.</a:t>
            </a:r>
            <a:endParaRPr lang="en-US"/>
          </a:p>
        </p:txBody>
      </p:sp>
      <p:cxnSp>
        <p:nvCxnSpPr>
          <p:cNvPr id="102" name="Straight Connector 101">
            <a:extLst>
              <a:ext uri="{FF2B5EF4-FFF2-40B4-BE49-F238E27FC236}">
                <a16:creationId xmlns:a16="http://schemas.microsoft.com/office/drawing/2014/main" id="{63B6A559-618D-41E3-A62C-904B9A4CC215}"/>
              </a:ext>
            </a:extLst>
          </p:cNvPr>
          <p:cNvCxnSpPr>
            <a:cxnSpLocks/>
          </p:cNvCxnSpPr>
          <p:nvPr/>
        </p:nvCxnSpPr>
        <p:spPr bwMode="auto">
          <a:xfrm flipV="1">
            <a:off x="33799914" y="15440776"/>
            <a:ext cx="4332960" cy="3810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Rectangle 102">
            <a:extLst>
              <a:ext uri="{FF2B5EF4-FFF2-40B4-BE49-F238E27FC236}">
                <a16:creationId xmlns:a16="http://schemas.microsoft.com/office/drawing/2014/main" id="{2F76351F-9D02-45DE-B6F2-FE328717BBD9}"/>
              </a:ext>
            </a:extLst>
          </p:cNvPr>
          <p:cNvSpPr/>
          <p:nvPr/>
        </p:nvSpPr>
        <p:spPr>
          <a:xfrm>
            <a:off x="28432348" y="9848493"/>
            <a:ext cx="9169295" cy="400110"/>
          </a:xfrm>
          <a:prstGeom prst="rect">
            <a:avLst/>
          </a:prstGeom>
        </p:spPr>
        <p:txBody>
          <a:bodyPr wrap="square" lIns="91440" tIns="45720" rIns="91440" bIns="45720" anchor="t">
            <a:spAutoFit/>
          </a:bodyPr>
          <a:lstStyle/>
          <a:p>
            <a:pPr algn="ctr"/>
            <a:r>
              <a:rPr lang="en-US" sz="2000" dirty="0">
                <a:latin typeface="Times New Roman"/>
                <a:ea typeface="Arial" charset="0"/>
                <a:cs typeface="Arial"/>
              </a:rPr>
              <a:t>Fig 5. Model results</a:t>
            </a:r>
            <a:endParaRPr lang="en-US" sz="2000" dirty="0">
              <a:latin typeface="Times New Roman"/>
              <a:ea typeface="Arial" charset="0"/>
              <a:cs typeface="Times"/>
            </a:endParaRPr>
          </a:p>
        </p:txBody>
      </p:sp>
      <p:sp>
        <p:nvSpPr>
          <p:cNvPr id="105" name="TextBox 104">
            <a:extLst>
              <a:ext uri="{FF2B5EF4-FFF2-40B4-BE49-F238E27FC236}">
                <a16:creationId xmlns:a16="http://schemas.microsoft.com/office/drawing/2014/main" id="{09694568-FBFD-4B0E-96E5-CBF182AEC315}"/>
              </a:ext>
            </a:extLst>
          </p:cNvPr>
          <p:cNvSpPr txBox="1"/>
          <p:nvPr/>
        </p:nvSpPr>
        <p:spPr>
          <a:xfrm>
            <a:off x="28117193" y="10204442"/>
            <a:ext cx="9885127" cy="5170646"/>
          </a:xfrm>
          <a:prstGeom prst="rect">
            <a:avLst/>
          </a:prstGeom>
          <a:noFill/>
        </p:spPr>
        <p:txBody>
          <a:bodyPr wrap="square" lIns="91440" tIns="45720" rIns="91440" bIns="45720" rtlCol="0" anchor="t">
            <a:spAutoFit/>
          </a:bodyPr>
          <a:lstStyle/>
          <a:p>
            <a:pPr algn="just">
              <a:spcBef>
                <a:spcPct val="50000"/>
              </a:spcBef>
            </a:pPr>
            <a:r>
              <a:rPr lang="en-US" altLang="en-US" sz="2200" spc="10" dirty="0">
                <a:latin typeface="Times New Roman"/>
                <a:cs typeface="Times"/>
              </a:rPr>
              <a:t>The graph illustrates the best few experimental models with high adjusted R-square and low mean squared error. The adjusted R-square ranges from 64.6% to 83.8% and MSE was between 0.465 and 4.722. </a:t>
            </a:r>
            <a:endParaRPr lang="en-US" dirty="0">
              <a:cs typeface="Times" charset="0"/>
            </a:endParaRPr>
          </a:p>
          <a:p>
            <a:pPr marL="342900" indent="-342900" algn="just">
              <a:spcBef>
                <a:spcPct val="50000"/>
              </a:spcBef>
              <a:buFont typeface="Arial"/>
              <a:buChar char="•"/>
            </a:pPr>
            <a:r>
              <a:rPr lang="en-US" altLang="en-US" sz="2200" spc="10" dirty="0">
                <a:latin typeface="Times New Roman"/>
                <a:cs typeface="Times"/>
              </a:rPr>
              <a:t>Models such as Linear regression(1,2,12), Lasso(4) and OLS(3,5-11,</a:t>
            </a:r>
            <a:r>
              <a:rPr lang="en-US" sz="2200" spc="10" dirty="0">
                <a:latin typeface="Times New Roman"/>
                <a:cs typeface="Times New Roman"/>
              </a:rPr>
              <a:t>13-14)</a:t>
            </a:r>
            <a:r>
              <a:rPr lang="en-US" altLang="en-US" sz="2200" spc="10" dirty="0">
                <a:latin typeface="Times New Roman"/>
                <a:cs typeface="Times"/>
              </a:rPr>
              <a:t> were explored. Interaction terms were created by combining demographic variables, lost sales and quantities in the previous year, quantity sold in the previous and previous-to-previous year. PCA analysis was also performed. </a:t>
            </a:r>
            <a:endParaRPr lang="en-US" dirty="0">
              <a:cs typeface="Times" charset="0"/>
            </a:endParaRPr>
          </a:p>
          <a:p>
            <a:pPr marL="342900" indent="-342900" algn="just">
              <a:spcBef>
                <a:spcPct val="50000"/>
              </a:spcBef>
              <a:buFont typeface="Arial"/>
              <a:buChar char="•"/>
            </a:pPr>
            <a:r>
              <a:rPr lang="en-US" altLang="en-US" sz="2200" spc="10" dirty="0">
                <a:latin typeface="Times New Roman"/>
                <a:cs typeface="Times"/>
              </a:rPr>
              <a:t>Model 1(Linear regression model) had the minimum MSE of 0.47 but the predictors used in the model were not significant which led to a lesser R-square value. A few OLS models (6,8) had a decent R-square of ~75% but had a high MSE of 4.72 indicating a </a:t>
            </a:r>
            <a:r>
              <a:rPr lang="en-US" sz="2200" spc="10" dirty="0">
                <a:latin typeface="Times New Roman"/>
                <a:cs typeface="Times"/>
              </a:rPr>
              <a:t>high biased or high variance estimate</a:t>
            </a:r>
            <a:r>
              <a:rPr lang="en-US" altLang="en-US" sz="2200" spc="10" dirty="0">
                <a:latin typeface="Times New Roman"/>
                <a:cs typeface="Times"/>
              </a:rPr>
              <a:t>. The best model obtained was an OLS model (13) </a:t>
            </a:r>
            <a:r>
              <a:rPr lang="en-US" sz="2200" spc="10" dirty="0">
                <a:latin typeface="Times New Roman"/>
                <a:cs typeface="Times"/>
              </a:rPr>
              <a:t>which used the interaction between quantity sold in previous and previous-to-previous year, </a:t>
            </a:r>
            <a:r>
              <a:rPr lang="en-US" altLang="en-US" sz="2200" spc="10" dirty="0">
                <a:latin typeface="Times New Roman"/>
                <a:cs typeface="Times"/>
              </a:rPr>
              <a:t>with an adjusted R-square of 83.8% and Mean Absolute Error of 0.14.</a:t>
            </a:r>
            <a:endParaRPr lang="en-US" dirty="0">
              <a:cs typeface="Times" charset="0"/>
            </a:endParaRPr>
          </a:p>
        </p:txBody>
      </p:sp>
      <p:pic>
        <p:nvPicPr>
          <p:cNvPr id="16" name="Picture 16" descr="Chart, bar chart&#10;&#10;Description automatically generated">
            <a:extLst>
              <a:ext uri="{FF2B5EF4-FFF2-40B4-BE49-F238E27FC236}">
                <a16:creationId xmlns:a16="http://schemas.microsoft.com/office/drawing/2014/main" id="{43493550-596C-4B5E-B15C-7AED4E3BDAB4}"/>
              </a:ext>
            </a:extLst>
          </p:cNvPr>
          <p:cNvPicPr>
            <a:picLocks noChangeAspect="1"/>
          </p:cNvPicPr>
          <p:nvPr/>
        </p:nvPicPr>
        <p:blipFill>
          <a:blip r:embed="rId13"/>
          <a:stretch>
            <a:fillRect/>
          </a:stretch>
        </p:blipFill>
        <p:spPr>
          <a:xfrm>
            <a:off x="28114779" y="4803653"/>
            <a:ext cx="9736143" cy="5023094"/>
          </a:xfrm>
          <a:prstGeom prst="rect">
            <a:avLst/>
          </a:prstGeom>
          <a:ln>
            <a:solidFill>
              <a:schemeClr val="tx1"/>
            </a:solidFill>
          </a:ln>
        </p:spPr>
      </p:pic>
      <p:pic>
        <p:nvPicPr>
          <p:cNvPr id="21" name="Picture 22" descr="Qr code&#10;&#10;Description automatically generated">
            <a:extLst>
              <a:ext uri="{FF2B5EF4-FFF2-40B4-BE49-F238E27FC236}">
                <a16:creationId xmlns:a16="http://schemas.microsoft.com/office/drawing/2014/main" id="{ACCC7F4F-C3F7-416C-ACE5-03E5D53A0425}"/>
              </a:ext>
            </a:extLst>
          </p:cNvPr>
          <p:cNvPicPr>
            <a:picLocks noChangeAspect="1"/>
          </p:cNvPicPr>
          <p:nvPr/>
        </p:nvPicPr>
        <p:blipFill>
          <a:blip r:embed="rId14"/>
          <a:stretch>
            <a:fillRect/>
          </a:stretch>
        </p:blipFill>
        <p:spPr>
          <a:xfrm>
            <a:off x="36483864" y="19943725"/>
            <a:ext cx="1797510" cy="1722968"/>
          </a:xfrm>
          <a:prstGeom prst="rect">
            <a:avLst/>
          </a:prstGeom>
        </p:spPr>
      </p:pic>
      <p:pic>
        <p:nvPicPr>
          <p:cNvPr id="11" name="Picture 12" descr="Diagram&#10;&#10;Description automatically generated">
            <a:extLst>
              <a:ext uri="{FF2B5EF4-FFF2-40B4-BE49-F238E27FC236}">
                <a16:creationId xmlns:a16="http://schemas.microsoft.com/office/drawing/2014/main" id="{37F1625F-9714-0171-4EEB-53CAF3B85480}"/>
              </a:ext>
            </a:extLst>
          </p:cNvPr>
          <p:cNvPicPr>
            <a:picLocks noChangeAspect="1"/>
          </p:cNvPicPr>
          <p:nvPr/>
        </p:nvPicPr>
        <p:blipFill>
          <a:blip r:embed="rId15"/>
          <a:stretch>
            <a:fillRect/>
          </a:stretch>
        </p:blipFill>
        <p:spPr>
          <a:xfrm>
            <a:off x="16819209" y="4926989"/>
            <a:ext cx="10677488" cy="5204287"/>
          </a:xfrm>
          <a:prstGeom prst="rect">
            <a:avLst/>
          </a:prstGeom>
        </p:spPr>
      </p:pic>
      <p:pic>
        <p:nvPicPr>
          <p:cNvPr id="13" name="Picture 16" descr="Graphical user interface, application, Teams&#10;&#10;Description automatically generated">
            <a:extLst>
              <a:ext uri="{FF2B5EF4-FFF2-40B4-BE49-F238E27FC236}">
                <a16:creationId xmlns:a16="http://schemas.microsoft.com/office/drawing/2014/main" id="{1F8C8E7A-B182-CC48-1A68-2AEFA63C6DA9}"/>
              </a:ext>
            </a:extLst>
          </p:cNvPr>
          <p:cNvPicPr>
            <a:picLocks noChangeAspect="1"/>
          </p:cNvPicPr>
          <p:nvPr/>
        </p:nvPicPr>
        <p:blipFill>
          <a:blip r:embed="rId16"/>
          <a:stretch>
            <a:fillRect/>
          </a:stretch>
        </p:blipFill>
        <p:spPr>
          <a:xfrm>
            <a:off x="22372607" y="16270844"/>
            <a:ext cx="5007634" cy="3403913"/>
          </a:xfrm>
          <a:prstGeom prst="rect">
            <a:avLst/>
          </a:prstGeom>
          <a:ln w="12700">
            <a:solidFill>
              <a:schemeClr val="tx1"/>
            </a:solidFill>
          </a:ln>
        </p:spPr>
      </p:pic>
      <p:pic>
        <p:nvPicPr>
          <p:cNvPr id="17" name="Picture 19" descr="Chart, scatter chart&#10;&#10;Description automatically generated">
            <a:extLst>
              <a:ext uri="{FF2B5EF4-FFF2-40B4-BE49-F238E27FC236}">
                <a16:creationId xmlns:a16="http://schemas.microsoft.com/office/drawing/2014/main" id="{D93400DD-0F33-7A06-7C9C-F48FC5F55410}"/>
              </a:ext>
            </a:extLst>
          </p:cNvPr>
          <p:cNvPicPr>
            <a:picLocks noChangeAspect="1"/>
          </p:cNvPicPr>
          <p:nvPr/>
        </p:nvPicPr>
        <p:blipFill>
          <a:blip r:embed="rId17"/>
          <a:stretch>
            <a:fillRect/>
          </a:stretch>
        </p:blipFill>
        <p:spPr>
          <a:xfrm>
            <a:off x="16821510" y="16275295"/>
            <a:ext cx="5098210" cy="3369132"/>
          </a:xfrm>
          <a:prstGeom prst="rect">
            <a:avLst/>
          </a:prstGeom>
          <a:ln w="12700">
            <a:solidFill>
              <a:schemeClr val="tx1"/>
            </a:solidFill>
          </a:ln>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BE5E52D-EB9D-4B72-A928-24760AE9C86A}">
  <ds:schemaRefs>
    <ds:schemaRef ds:uri="http://purl.org/dc/dcmitype/"/>
    <ds:schemaRef ds:uri="http://purl.org/dc/elements/1.1/"/>
    <ds:schemaRef ds:uri="http://www.w3.org/XML/1998/namespace"/>
    <ds:schemaRef ds:uri="http://purl.org/dc/terms/"/>
    <ds:schemaRef ds:uri="http://schemas.microsoft.com/office/2006/metadata/properties"/>
    <ds:schemaRef ds:uri="b60307e8-227d-4226-bf3f-3f3e3f614599"/>
    <ds:schemaRef ds:uri="http://schemas.microsoft.com/office/2006/documentManagement/types"/>
    <ds:schemaRef ds:uri="http://schemas.microsoft.com/office/infopath/2007/PartnerControls"/>
    <ds:schemaRef ds:uri="http://schemas.openxmlformats.org/package/2006/metadata/core-properties"/>
    <ds:schemaRef ds:uri="b1755f8e-5024-43d4-9f4e-f0720ef5cbe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2822</TotalTime>
  <Words>934</Words>
  <Application>Microsoft Office PowerPoint</Application>
  <PresentationFormat>Custom</PresentationFormat>
  <Paragraphs>32</Paragraphs>
  <Slides>1</Slides>
  <Notes>0</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Swati Srivastava</cp:lastModifiedBy>
  <cp:revision>760</cp:revision>
  <cp:lastPrinted>2001-08-01T02:48:55Z</cp:lastPrinted>
  <dcterms:created xsi:type="dcterms:W3CDTF">2014-12-02T19:25:45Z</dcterms:created>
  <dcterms:modified xsi:type="dcterms:W3CDTF">2022-03-29T20: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